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3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952" r:id="rId5"/>
    <p:sldMasterId id="2147483970" r:id="rId6"/>
    <p:sldMasterId id="2147484105" r:id="rId7"/>
  </p:sldMasterIdLst>
  <p:notesMasterIdLst>
    <p:notesMasterId r:id="rId22"/>
  </p:notesMasterIdLst>
  <p:sldIdLst>
    <p:sldId id="4577" r:id="rId8"/>
    <p:sldId id="4864" r:id="rId9"/>
    <p:sldId id="2327" r:id="rId10"/>
    <p:sldId id="4865" r:id="rId11"/>
    <p:sldId id="2120" r:id="rId12"/>
    <p:sldId id="4875" r:id="rId13"/>
    <p:sldId id="4876" r:id="rId14"/>
    <p:sldId id="2219" r:id="rId15"/>
    <p:sldId id="2299" r:id="rId16"/>
    <p:sldId id="2300" r:id="rId17"/>
    <p:sldId id="4592" r:id="rId18"/>
    <p:sldId id="4593" r:id="rId19"/>
    <p:sldId id="4772" r:id="rId20"/>
    <p:sldId id="4877" r:id="rId21"/>
  </p:sldIdLst>
  <p:sldSz cx="12192000" cy="6858000"/>
  <p:notesSz cx="6858000" cy="9144000"/>
  <p:embeddedFontLst>
    <p:embeddedFont>
      <p:font typeface="Calibri" panose="020F0502020204030204" pitchFamily="34" charset="0"/>
      <p:regular r:id="rId23"/>
      <p:bold r:id="rId23"/>
      <p:italic r:id="rId23"/>
      <p:boldItalic r:id="rId23"/>
    </p:embeddedFont>
    <p:embeddedFont>
      <p:font typeface="Calibri Light" panose="020F0302020204030204" pitchFamily="34" charset="0"/>
      <p:regular r:id="rId23"/>
      <p:italic r:id="rId23"/>
    </p:embeddedFont>
  </p:embeddedFontLst>
  <p:custDataLst>
    <p:tags r:id="rId2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1CE8A60F-7C29-4AF4-8F24-5686833EB6C1}">
          <p14:sldIdLst>
            <p14:sldId id="4577"/>
            <p14:sldId id="4864"/>
            <p14:sldId id="2327"/>
            <p14:sldId id="4865"/>
            <p14:sldId id="2120"/>
            <p14:sldId id="4875"/>
            <p14:sldId id="4876"/>
            <p14:sldId id="2219"/>
            <p14:sldId id="2299"/>
            <p14:sldId id="2300"/>
            <p14:sldId id="4592"/>
            <p14:sldId id="4593"/>
            <p14:sldId id="4772"/>
            <p14:sldId id="487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hlová Radka Mgr." initials="PRM" lastIdx="2" clrIdx="0">
    <p:extLst>
      <p:ext uri="{19B8F6BF-5375-455C-9EA6-DF929625EA0E}">
        <p15:presenceInfo xmlns:p15="http://schemas.microsoft.com/office/powerpoint/2012/main" userId="S::pohlovar@mzcr.cz::15a606af-c9df-42db-9d4e-541ca0551712" providerId="AD"/>
      </p:ext>
    </p:extLst>
  </p:cmAuthor>
  <p:cmAuthor id="2" name="Žofka Jan Mgr. Ing." initials="ŽJMI" lastIdx="1" clrIdx="1">
    <p:extLst>
      <p:ext uri="{19B8F6BF-5375-455C-9EA6-DF929625EA0E}">
        <p15:presenceInfo xmlns:p15="http://schemas.microsoft.com/office/powerpoint/2012/main" userId="S::zofkaj@mzcr.cz::47242822-da23-458e-81a5-68dba5d2ccc4" providerId="AD"/>
      </p:ext>
    </p:extLst>
  </p:cmAuthor>
  <p:cmAuthor id="3" name="Klechová Anna Mgr." initials="KAM" lastIdx="1" clrIdx="2">
    <p:extLst>
      <p:ext uri="{19B8F6BF-5375-455C-9EA6-DF929625EA0E}">
        <p15:presenceInfo xmlns:p15="http://schemas.microsoft.com/office/powerpoint/2012/main" userId="S::klechovaa@mzcr.cz::18e63089-be75-4ea6-a181-0f98749577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5983"/>
    <a:srgbClr val="E6E6E6"/>
    <a:srgbClr val="FFC000"/>
    <a:srgbClr val="CD9A00"/>
    <a:srgbClr val="FF33CC"/>
    <a:srgbClr val="C00000"/>
    <a:srgbClr val="FFFF66"/>
    <a:srgbClr val="00FF00"/>
    <a:srgbClr val="0000FF"/>
    <a:srgbClr val="FEDA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46" autoAdjust="0"/>
    <p:restoredTop sz="91391" autoAdjust="0"/>
  </p:normalViewPr>
  <p:slideViewPr>
    <p:cSldViewPr snapToGrid="0">
      <p:cViewPr varScale="1">
        <p:scale>
          <a:sx n="60" d="100"/>
          <a:sy n="60" d="100"/>
        </p:scale>
        <p:origin x="960" y="90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334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font" Target="NUL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046398297599972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234</c:f>
              <c:numCache>
                <c:formatCode>m/d/yyyy</c:formatCode>
                <c:ptCount val="234"/>
                <c:pt idx="0">
                  <c:v>44534</c:v>
                </c:pt>
                <c:pt idx="1">
                  <c:v>44535</c:v>
                </c:pt>
                <c:pt idx="2">
                  <c:v>44536</c:v>
                </c:pt>
                <c:pt idx="3">
                  <c:v>44537</c:v>
                </c:pt>
                <c:pt idx="4">
                  <c:v>44538</c:v>
                </c:pt>
                <c:pt idx="5">
                  <c:v>44539</c:v>
                </c:pt>
                <c:pt idx="6">
                  <c:v>44540</c:v>
                </c:pt>
                <c:pt idx="7">
                  <c:v>44541</c:v>
                </c:pt>
                <c:pt idx="8">
                  <c:v>44542</c:v>
                </c:pt>
                <c:pt idx="9">
                  <c:v>44543</c:v>
                </c:pt>
                <c:pt idx="10">
                  <c:v>44544</c:v>
                </c:pt>
                <c:pt idx="11">
                  <c:v>44545</c:v>
                </c:pt>
                <c:pt idx="12">
                  <c:v>44546</c:v>
                </c:pt>
                <c:pt idx="13">
                  <c:v>44547</c:v>
                </c:pt>
                <c:pt idx="14">
                  <c:v>44548</c:v>
                </c:pt>
                <c:pt idx="15">
                  <c:v>44549</c:v>
                </c:pt>
                <c:pt idx="16">
                  <c:v>44550</c:v>
                </c:pt>
                <c:pt idx="17">
                  <c:v>44551</c:v>
                </c:pt>
                <c:pt idx="18">
                  <c:v>44552</c:v>
                </c:pt>
                <c:pt idx="19">
                  <c:v>44553</c:v>
                </c:pt>
                <c:pt idx="20">
                  <c:v>44554</c:v>
                </c:pt>
                <c:pt idx="21">
                  <c:v>44555</c:v>
                </c:pt>
                <c:pt idx="22">
                  <c:v>44556</c:v>
                </c:pt>
                <c:pt idx="23">
                  <c:v>44557</c:v>
                </c:pt>
                <c:pt idx="24">
                  <c:v>44558</c:v>
                </c:pt>
                <c:pt idx="25">
                  <c:v>44559</c:v>
                </c:pt>
                <c:pt idx="26">
                  <c:v>44560</c:v>
                </c:pt>
                <c:pt idx="27">
                  <c:v>44561</c:v>
                </c:pt>
                <c:pt idx="28">
                  <c:v>44562</c:v>
                </c:pt>
                <c:pt idx="29">
                  <c:v>44563</c:v>
                </c:pt>
                <c:pt idx="30">
                  <c:v>44564</c:v>
                </c:pt>
                <c:pt idx="31">
                  <c:v>44565</c:v>
                </c:pt>
                <c:pt idx="32">
                  <c:v>44566</c:v>
                </c:pt>
                <c:pt idx="33">
                  <c:v>44567</c:v>
                </c:pt>
                <c:pt idx="34">
                  <c:v>44568</c:v>
                </c:pt>
                <c:pt idx="35">
                  <c:v>44569</c:v>
                </c:pt>
                <c:pt idx="36">
                  <c:v>44570</c:v>
                </c:pt>
                <c:pt idx="37">
                  <c:v>44571</c:v>
                </c:pt>
                <c:pt idx="38">
                  <c:v>44572</c:v>
                </c:pt>
                <c:pt idx="39">
                  <c:v>44573</c:v>
                </c:pt>
                <c:pt idx="40">
                  <c:v>44574</c:v>
                </c:pt>
                <c:pt idx="41">
                  <c:v>44575</c:v>
                </c:pt>
                <c:pt idx="42">
                  <c:v>44576</c:v>
                </c:pt>
                <c:pt idx="43">
                  <c:v>44577</c:v>
                </c:pt>
                <c:pt idx="44">
                  <c:v>44578</c:v>
                </c:pt>
                <c:pt idx="45">
                  <c:v>44579</c:v>
                </c:pt>
                <c:pt idx="46">
                  <c:v>44580</c:v>
                </c:pt>
                <c:pt idx="47">
                  <c:v>44581</c:v>
                </c:pt>
                <c:pt idx="48">
                  <c:v>44582</c:v>
                </c:pt>
                <c:pt idx="49">
                  <c:v>44583</c:v>
                </c:pt>
                <c:pt idx="50">
                  <c:v>44584</c:v>
                </c:pt>
                <c:pt idx="51">
                  <c:v>44585</c:v>
                </c:pt>
                <c:pt idx="52">
                  <c:v>44586</c:v>
                </c:pt>
                <c:pt idx="53">
                  <c:v>44587</c:v>
                </c:pt>
                <c:pt idx="54">
                  <c:v>44588</c:v>
                </c:pt>
                <c:pt idx="55">
                  <c:v>44589</c:v>
                </c:pt>
                <c:pt idx="56">
                  <c:v>44590</c:v>
                </c:pt>
                <c:pt idx="57">
                  <c:v>44591</c:v>
                </c:pt>
                <c:pt idx="58">
                  <c:v>44592</c:v>
                </c:pt>
                <c:pt idx="59">
                  <c:v>44593</c:v>
                </c:pt>
                <c:pt idx="60">
                  <c:v>44594</c:v>
                </c:pt>
                <c:pt idx="61">
                  <c:v>44595</c:v>
                </c:pt>
                <c:pt idx="62">
                  <c:v>44596</c:v>
                </c:pt>
                <c:pt idx="63">
                  <c:v>44597</c:v>
                </c:pt>
                <c:pt idx="64">
                  <c:v>44598</c:v>
                </c:pt>
                <c:pt idx="65">
                  <c:v>44599</c:v>
                </c:pt>
                <c:pt idx="66">
                  <c:v>44600</c:v>
                </c:pt>
                <c:pt idx="67">
                  <c:v>44601</c:v>
                </c:pt>
                <c:pt idx="68">
                  <c:v>44602</c:v>
                </c:pt>
                <c:pt idx="69">
                  <c:v>44603</c:v>
                </c:pt>
                <c:pt idx="70">
                  <c:v>44604</c:v>
                </c:pt>
                <c:pt idx="71">
                  <c:v>44605</c:v>
                </c:pt>
                <c:pt idx="72">
                  <c:v>44606</c:v>
                </c:pt>
                <c:pt idx="73">
                  <c:v>44607</c:v>
                </c:pt>
                <c:pt idx="74">
                  <c:v>44608</c:v>
                </c:pt>
                <c:pt idx="75">
                  <c:v>44609</c:v>
                </c:pt>
                <c:pt idx="76">
                  <c:v>44610</c:v>
                </c:pt>
                <c:pt idx="77">
                  <c:v>44611</c:v>
                </c:pt>
                <c:pt idx="78">
                  <c:v>44612</c:v>
                </c:pt>
                <c:pt idx="79">
                  <c:v>44613</c:v>
                </c:pt>
                <c:pt idx="80">
                  <c:v>44614</c:v>
                </c:pt>
                <c:pt idx="81">
                  <c:v>44615</c:v>
                </c:pt>
                <c:pt idx="82">
                  <c:v>44616</c:v>
                </c:pt>
                <c:pt idx="83">
                  <c:v>44617</c:v>
                </c:pt>
                <c:pt idx="84">
                  <c:v>44618</c:v>
                </c:pt>
                <c:pt idx="85">
                  <c:v>44619</c:v>
                </c:pt>
                <c:pt idx="86">
                  <c:v>44620</c:v>
                </c:pt>
                <c:pt idx="87">
                  <c:v>44621</c:v>
                </c:pt>
                <c:pt idx="88">
                  <c:v>44622</c:v>
                </c:pt>
                <c:pt idx="89">
                  <c:v>44623</c:v>
                </c:pt>
                <c:pt idx="90">
                  <c:v>44624</c:v>
                </c:pt>
                <c:pt idx="91">
                  <c:v>44625</c:v>
                </c:pt>
                <c:pt idx="92">
                  <c:v>44626</c:v>
                </c:pt>
                <c:pt idx="93">
                  <c:v>44627</c:v>
                </c:pt>
                <c:pt idx="94">
                  <c:v>44628</c:v>
                </c:pt>
                <c:pt idx="95">
                  <c:v>44629</c:v>
                </c:pt>
                <c:pt idx="96">
                  <c:v>44630</c:v>
                </c:pt>
                <c:pt idx="97">
                  <c:v>44631</c:v>
                </c:pt>
                <c:pt idx="98">
                  <c:v>44632</c:v>
                </c:pt>
                <c:pt idx="99">
                  <c:v>44633</c:v>
                </c:pt>
                <c:pt idx="100">
                  <c:v>44634</c:v>
                </c:pt>
                <c:pt idx="101">
                  <c:v>44635</c:v>
                </c:pt>
                <c:pt idx="102">
                  <c:v>44636</c:v>
                </c:pt>
                <c:pt idx="103">
                  <c:v>44637</c:v>
                </c:pt>
                <c:pt idx="104">
                  <c:v>44638</c:v>
                </c:pt>
                <c:pt idx="105">
                  <c:v>44639</c:v>
                </c:pt>
                <c:pt idx="106">
                  <c:v>44640</c:v>
                </c:pt>
                <c:pt idx="107">
                  <c:v>44641</c:v>
                </c:pt>
                <c:pt idx="108">
                  <c:v>44642</c:v>
                </c:pt>
                <c:pt idx="109">
                  <c:v>44643</c:v>
                </c:pt>
                <c:pt idx="110">
                  <c:v>44644</c:v>
                </c:pt>
                <c:pt idx="111">
                  <c:v>44645</c:v>
                </c:pt>
                <c:pt idx="112">
                  <c:v>44646</c:v>
                </c:pt>
                <c:pt idx="113">
                  <c:v>44647</c:v>
                </c:pt>
                <c:pt idx="114">
                  <c:v>44648</c:v>
                </c:pt>
                <c:pt idx="115">
                  <c:v>44649</c:v>
                </c:pt>
                <c:pt idx="116">
                  <c:v>44650</c:v>
                </c:pt>
                <c:pt idx="117">
                  <c:v>44651</c:v>
                </c:pt>
                <c:pt idx="118">
                  <c:v>44652</c:v>
                </c:pt>
              </c:numCache>
            </c:numRef>
          </c:cat>
          <c:val>
            <c:numRef>
              <c:f>Sheet1!$B$1:$B$234</c:f>
              <c:numCache>
                <c:formatCode>General</c:formatCode>
                <c:ptCount val="234"/>
                <c:pt idx="0">
                  <c:v>130</c:v>
                </c:pt>
                <c:pt idx="1">
                  <c:v>66</c:v>
                </c:pt>
                <c:pt idx="2">
                  <c:v>200</c:v>
                </c:pt>
                <c:pt idx="3">
                  <c:v>226</c:v>
                </c:pt>
                <c:pt idx="4">
                  <c:v>198</c:v>
                </c:pt>
                <c:pt idx="5">
                  <c:v>177</c:v>
                </c:pt>
                <c:pt idx="6">
                  <c:v>163</c:v>
                </c:pt>
                <c:pt idx="7">
                  <c:v>97</c:v>
                </c:pt>
                <c:pt idx="8">
                  <c:v>41</c:v>
                </c:pt>
                <c:pt idx="9">
                  <c:v>136</c:v>
                </c:pt>
                <c:pt idx="10">
                  <c:v>178</c:v>
                </c:pt>
                <c:pt idx="11">
                  <c:v>147</c:v>
                </c:pt>
                <c:pt idx="12">
                  <c:v>107</c:v>
                </c:pt>
                <c:pt idx="13">
                  <c:v>114</c:v>
                </c:pt>
                <c:pt idx="14">
                  <c:v>54</c:v>
                </c:pt>
                <c:pt idx="15">
                  <c:v>34</c:v>
                </c:pt>
                <c:pt idx="16">
                  <c:v>96</c:v>
                </c:pt>
                <c:pt idx="17">
                  <c:v>132</c:v>
                </c:pt>
                <c:pt idx="18">
                  <c:v>67</c:v>
                </c:pt>
                <c:pt idx="19">
                  <c:v>80</c:v>
                </c:pt>
                <c:pt idx="20">
                  <c:v>17</c:v>
                </c:pt>
                <c:pt idx="21">
                  <c:v>11</c:v>
                </c:pt>
                <c:pt idx="22">
                  <c:v>28</c:v>
                </c:pt>
                <c:pt idx="23">
                  <c:v>54</c:v>
                </c:pt>
                <c:pt idx="24">
                  <c:v>86</c:v>
                </c:pt>
                <c:pt idx="25">
                  <c:v>61</c:v>
                </c:pt>
                <c:pt idx="26">
                  <c:v>77</c:v>
                </c:pt>
                <c:pt idx="27">
                  <c:v>69</c:v>
                </c:pt>
                <c:pt idx="28">
                  <c:v>19</c:v>
                </c:pt>
                <c:pt idx="29">
                  <c:v>15</c:v>
                </c:pt>
                <c:pt idx="30">
                  <c:v>108</c:v>
                </c:pt>
                <c:pt idx="31">
                  <c:v>93</c:v>
                </c:pt>
                <c:pt idx="32">
                  <c:v>91</c:v>
                </c:pt>
                <c:pt idx="33">
                  <c:v>80</c:v>
                </c:pt>
                <c:pt idx="34">
                  <c:v>101</c:v>
                </c:pt>
                <c:pt idx="35">
                  <c:v>50</c:v>
                </c:pt>
                <c:pt idx="36">
                  <c:v>35</c:v>
                </c:pt>
                <c:pt idx="37">
                  <c:v>86</c:v>
                </c:pt>
                <c:pt idx="38">
                  <c:v>138</c:v>
                </c:pt>
                <c:pt idx="39">
                  <c:v>178</c:v>
                </c:pt>
                <c:pt idx="40">
                  <c:v>147</c:v>
                </c:pt>
                <c:pt idx="41">
                  <c:v>175</c:v>
                </c:pt>
                <c:pt idx="42">
                  <c:v>151</c:v>
                </c:pt>
                <c:pt idx="43">
                  <c:v>105</c:v>
                </c:pt>
                <c:pt idx="44">
                  <c:v>240</c:v>
                </c:pt>
                <c:pt idx="45">
                  <c:v>434</c:v>
                </c:pt>
                <c:pt idx="46">
                  <c:v>381</c:v>
                </c:pt>
                <c:pt idx="47">
                  <c:v>370</c:v>
                </c:pt>
                <c:pt idx="48">
                  <c:v>376</c:v>
                </c:pt>
                <c:pt idx="49">
                  <c:v>218</c:v>
                </c:pt>
                <c:pt idx="50">
                  <c:v>153</c:v>
                </c:pt>
                <c:pt idx="51">
                  <c:v>401</c:v>
                </c:pt>
                <c:pt idx="52">
                  <c:v>592</c:v>
                </c:pt>
                <c:pt idx="53">
                  <c:v>881</c:v>
                </c:pt>
                <c:pt idx="54">
                  <c:v>555</c:v>
                </c:pt>
                <c:pt idx="55">
                  <c:v>741</c:v>
                </c:pt>
                <c:pt idx="56">
                  <c:v>274</c:v>
                </c:pt>
                <c:pt idx="57">
                  <c:v>338</c:v>
                </c:pt>
                <c:pt idx="58">
                  <c:v>436</c:v>
                </c:pt>
                <c:pt idx="59">
                  <c:v>888</c:v>
                </c:pt>
                <c:pt idx="60">
                  <c:v>696</c:v>
                </c:pt>
                <c:pt idx="61">
                  <c:v>632</c:v>
                </c:pt>
                <c:pt idx="62">
                  <c:v>448</c:v>
                </c:pt>
                <c:pt idx="63">
                  <c:v>418</c:v>
                </c:pt>
                <c:pt idx="64">
                  <c:v>132</c:v>
                </c:pt>
                <c:pt idx="65">
                  <c:v>428</c:v>
                </c:pt>
                <c:pt idx="66">
                  <c:v>554</c:v>
                </c:pt>
                <c:pt idx="67">
                  <c:v>399</c:v>
                </c:pt>
                <c:pt idx="68">
                  <c:v>315</c:v>
                </c:pt>
                <c:pt idx="69">
                  <c:v>338</c:v>
                </c:pt>
                <c:pt idx="70">
                  <c:v>155</c:v>
                </c:pt>
                <c:pt idx="71">
                  <c:v>107</c:v>
                </c:pt>
                <c:pt idx="72">
                  <c:v>214</c:v>
                </c:pt>
                <c:pt idx="73">
                  <c:v>415</c:v>
                </c:pt>
                <c:pt idx="74">
                  <c:v>280</c:v>
                </c:pt>
                <c:pt idx="75">
                  <c:v>175</c:v>
                </c:pt>
                <c:pt idx="76">
                  <c:v>198</c:v>
                </c:pt>
                <c:pt idx="77">
                  <c:v>130</c:v>
                </c:pt>
                <c:pt idx="78">
                  <c:v>59</c:v>
                </c:pt>
                <c:pt idx="79">
                  <c:v>172</c:v>
                </c:pt>
                <c:pt idx="80">
                  <c:v>195</c:v>
                </c:pt>
                <c:pt idx="81">
                  <c:v>127</c:v>
                </c:pt>
                <c:pt idx="82">
                  <c:v>105</c:v>
                </c:pt>
                <c:pt idx="83">
                  <c:v>81</c:v>
                </c:pt>
                <c:pt idx="84">
                  <c:v>61</c:v>
                </c:pt>
                <c:pt idx="85">
                  <c:v>34</c:v>
                </c:pt>
                <c:pt idx="86">
                  <c:v>106</c:v>
                </c:pt>
                <c:pt idx="87">
                  <c:v>119</c:v>
                </c:pt>
                <c:pt idx="88">
                  <c:v>89</c:v>
                </c:pt>
                <c:pt idx="89">
                  <c:v>78</c:v>
                </c:pt>
                <c:pt idx="90">
                  <c:v>64</c:v>
                </c:pt>
                <c:pt idx="91">
                  <c:v>49</c:v>
                </c:pt>
                <c:pt idx="92">
                  <c:v>29</c:v>
                </c:pt>
                <c:pt idx="93">
                  <c:v>77</c:v>
                </c:pt>
                <c:pt idx="94">
                  <c:v>98</c:v>
                </c:pt>
                <c:pt idx="95">
                  <c:v>80</c:v>
                </c:pt>
                <c:pt idx="96">
                  <c:v>84</c:v>
                </c:pt>
                <c:pt idx="97">
                  <c:v>75</c:v>
                </c:pt>
                <c:pt idx="98">
                  <c:v>51</c:v>
                </c:pt>
                <c:pt idx="99">
                  <c:v>37</c:v>
                </c:pt>
                <c:pt idx="100">
                  <c:v>114</c:v>
                </c:pt>
                <c:pt idx="101">
                  <c:v>99</c:v>
                </c:pt>
                <c:pt idx="102">
                  <c:v>88</c:v>
                </c:pt>
                <c:pt idx="103">
                  <c:v>107</c:v>
                </c:pt>
                <c:pt idx="104">
                  <c:v>112</c:v>
                </c:pt>
                <c:pt idx="105">
                  <c:v>46</c:v>
                </c:pt>
                <c:pt idx="106">
                  <c:v>17</c:v>
                </c:pt>
                <c:pt idx="107">
                  <c:v>118</c:v>
                </c:pt>
                <c:pt idx="108">
                  <c:v>136</c:v>
                </c:pt>
                <c:pt idx="109">
                  <c:v>97</c:v>
                </c:pt>
                <c:pt idx="110">
                  <c:v>88</c:v>
                </c:pt>
                <c:pt idx="111">
                  <c:v>92</c:v>
                </c:pt>
                <c:pt idx="112">
                  <c:v>35</c:v>
                </c:pt>
                <c:pt idx="113">
                  <c:v>24</c:v>
                </c:pt>
                <c:pt idx="114">
                  <c:v>77</c:v>
                </c:pt>
                <c:pt idx="115">
                  <c:v>107</c:v>
                </c:pt>
                <c:pt idx="116">
                  <c:v>66</c:v>
                </c:pt>
                <c:pt idx="117">
                  <c:v>81</c:v>
                </c:pt>
                <c:pt idx="118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775676017830671E-2"/>
          <c:y val="9.3082335356787713E-2"/>
          <c:w val="0.95197431823554179"/>
          <c:h val="0.74089423704012836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'63'!$F$2</c:f>
              <c:strCache>
                <c:ptCount val="1"/>
                <c:pt idx="0">
                  <c:v>11.03.202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multiLvlStrRef>
              <c:f>'63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3'!$F$3:$F$16</c:f>
              <c:numCache>
                <c:formatCode>General</c:formatCode>
                <c:ptCount val="14"/>
                <c:pt idx="0">
                  <c:v>27</c:v>
                </c:pt>
                <c:pt idx="1">
                  <c:v>7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4</c:v>
                </c:pt>
                <c:pt idx="6">
                  <c:v>4</c:v>
                </c:pt>
                <c:pt idx="7">
                  <c:v>8</c:v>
                </c:pt>
                <c:pt idx="8">
                  <c:v>2</c:v>
                </c:pt>
                <c:pt idx="9">
                  <c:v>4</c:v>
                </c:pt>
                <c:pt idx="10">
                  <c:v>8</c:v>
                </c:pt>
                <c:pt idx="11">
                  <c:v>4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D08-45EA-B18E-DEFD09F4D325}"/>
            </c:ext>
          </c:extLst>
        </c:ser>
        <c:ser>
          <c:idx val="2"/>
          <c:order val="1"/>
          <c:tx>
            <c:strRef>
              <c:f>'63'!$E$2</c:f>
              <c:strCache>
                <c:ptCount val="1"/>
                <c:pt idx="0">
                  <c:v>18.03.20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multiLvlStrRef>
              <c:f>'63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3'!$E$3:$E$16</c:f>
              <c:numCache>
                <c:formatCode>General</c:formatCode>
                <c:ptCount val="14"/>
                <c:pt idx="0">
                  <c:v>33</c:v>
                </c:pt>
                <c:pt idx="1">
                  <c:v>12</c:v>
                </c:pt>
                <c:pt idx="2">
                  <c:v>5</c:v>
                </c:pt>
                <c:pt idx="3">
                  <c:v>6</c:v>
                </c:pt>
                <c:pt idx="4">
                  <c:v>5</c:v>
                </c:pt>
                <c:pt idx="5">
                  <c:v>11</c:v>
                </c:pt>
                <c:pt idx="6">
                  <c:v>10</c:v>
                </c:pt>
                <c:pt idx="7">
                  <c:v>3</c:v>
                </c:pt>
                <c:pt idx="8">
                  <c:v>5</c:v>
                </c:pt>
                <c:pt idx="9">
                  <c:v>6</c:v>
                </c:pt>
                <c:pt idx="10">
                  <c:v>8</c:v>
                </c:pt>
                <c:pt idx="11">
                  <c:v>3</c:v>
                </c:pt>
                <c:pt idx="12">
                  <c:v>2</c:v>
                </c:pt>
                <c:pt idx="1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D08-45EA-B18E-DEFD09F4D325}"/>
            </c:ext>
          </c:extLst>
        </c:ser>
        <c:ser>
          <c:idx val="1"/>
          <c:order val="2"/>
          <c:tx>
            <c:strRef>
              <c:f>'63'!$D$2</c:f>
              <c:strCache>
                <c:ptCount val="1"/>
                <c:pt idx="0">
                  <c:v>25.03.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'63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3'!$D$3:$D$16</c:f>
              <c:numCache>
                <c:formatCode>General</c:formatCode>
                <c:ptCount val="14"/>
                <c:pt idx="0">
                  <c:v>38</c:v>
                </c:pt>
                <c:pt idx="1">
                  <c:v>16</c:v>
                </c:pt>
                <c:pt idx="2">
                  <c:v>7</c:v>
                </c:pt>
                <c:pt idx="3">
                  <c:v>1</c:v>
                </c:pt>
                <c:pt idx="4">
                  <c:v>4</c:v>
                </c:pt>
                <c:pt idx="5">
                  <c:v>2</c:v>
                </c:pt>
                <c:pt idx="6">
                  <c:v>4</c:v>
                </c:pt>
                <c:pt idx="7">
                  <c:v>2</c:v>
                </c:pt>
                <c:pt idx="8">
                  <c:v>4</c:v>
                </c:pt>
                <c:pt idx="9">
                  <c:v>3</c:v>
                </c:pt>
                <c:pt idx="10">
                  <c:v>9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08-45EA-B18E-DEFD09F4D325}"/>
            </c:ext>
          </c:extLst>
        </c:ser>
        <c:ser>
          <c:idx val="0"/>
          <c:order val="3"/>
          <c:tx>
            <c:strRef>
              <c:f>'63'!$C$2</c:f>
              <c:strCache>
                <c:ptCount val="1"/>
                <c:pt idx="0">
                  <c:v>01.04.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'63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3'!$C$3:$C$16</c:f>
              <c:numCache>
                <c:formatCode>General</c:formatCode>
                <c:ptCount val="14"/>
                <c:pt idx="0">
                  <c:v>21</c:v>
                </c:pt>
                <c:pt idx="1">
                  <c:v>11</c:v>
                </c:pt>
                <c:pt idx="2">
                  <c:v>6</c:v>
                </c:pt>
                <c:pt idx="3">
                  <c:v>3</c:v>
                </c:pt>
                <c:pt idx="4">
                  <c:v>2</c:v>
                </c:pt>
                <c:pt idx="5">
                  <c:v>6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6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08-45EA-B18E-DEFD09F4D3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63686816"/>
        <c:axId val="1642688000"/>
      </c:barChart>
      <c:catAx>
        <c:axId val="1663686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42688000"/>
        <c:crosses val="autoZero"/>
        <c:auto val="1"/>
        <c:lblAlgn val="ctr"/>
        <c:lblOffset val="100"/>
        <c:noMultiLvlLbl val="0"/>
      </c:catAx>
      <c:valAx>
        <c:axId val="16426880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63686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775676017830671E-2"/>
          <c:y val="9.3082335356787713E-2"/>
          <c:w val="0.95197431823554179"/>
          <c:h val="0.74089423704012836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'63'!$F$2</c:f>
              <c:strCache>
                <c:ptCount val="1"/>
                <c:pt idx="0">
                  <c:v>11.03.202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multiLvlStrRef>
              <c:f>'63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3'!$F$3:$F$16</c:f>
              <c:numCache>
                <c:formatCode>General</c:formatCode>
                <c:ptCount val="14"/>
                <c:pt idx="0">
                  <c:v>0.28244274809100001</c:v>
                </c:pt>
                <c:pt idx="1">
                  <c:v>0.28000000000000003</c:v>
                </c:pt>
                <c:pt idx="2">
                  <c:v>0.375</c:v>
                </c:pt>
                <c:pt idx="3">
                  <c:v>0.17391304347799999</c:v>
                </c:pt>
                <c:pt idx="4">
                  <c:v>0.28571428571399998</c:v>
                </c:pt>
                <c:pt idx="5">
                  <c:v>0.384615384615</c:v>
                </c:pt>
                <c:pt idx="6">
                  <c:v>0.30769230769200001</c:v>
                </c:pt>
                <c:pt idx="7">
                  <c:v>0.47058823529400001</c:v>
                </c:pt>
                <c:pt idx="8">
                  <c:v>0.3125</c:v>
                </c:pt>
                <c:pt idx="9">
                  <c:v>1</c:v>
                </c:pt>
                <c:pt idx="10">
                  <c:v>0.29629629629600002</c:v>
                </c:pt>
                <c:pt idx="11">
                  <c:v>0.5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D08-45EA-B18E-DEFD09F4D325}"/>
            </c:ext>
          </c:extLst>
        </c:ser>
        <c:ser>
          <c:idx val="2"/>
          <c:order val="1"/>
          <c:tx>
            <c:strRef>
              <c:f>'63'!$E$2</c:f>
              <c:strCache>
                <c:ptCount val="1"/>
                <c:pt idx="0">
                  <c:v>18.03.20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multiLvlStrRef>
              <c:f>'63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3'!$E$3:$E$16</c:f>
              <c:numCache>
                <c:formatCode>General</c:formatCode>
                <c:ptCount val="14"/>
                <c:pt idx="0">
                  <c:v>0.28333333333299998</c:v>
                </c:pt>
                <c:pt idx="1">
                  <c:v>0.39130434782599999</c:v>
                </c:pt>
                <c:pt idx="2">
                  <c:v>0.38888888888799999</c:v>
                </c:pt>
                <c:pt idx="3">
                  <c:v>0.30303030303</c:v>
                </c:pt>
                <c:pt idx="4">
                  <c:v>0.416666666666</c:v>
                </c:pt>
                <c:pt idx="5">
                  <c:v>0.6</c:v>
                </c:pt>
                <c:pt idx="6">
                  <c:v>0.61538461538400002</c:v>
                </c:pt>
                <c:pt idx="7">
                  <c:v>0.4</c:v>
                </c:pt>
                <c:pt idx="8">
                  <c:v>0.33333333333300003</c:v>
                </c:pt>
                <c:pt idx="9">
                  <c:v>0.53846153846099998</c:v>
                </c:pt>
                <c:pt idx="10">
                  <c:v>0.36</c:v>
                </c:pt>
                <c:pt idx="11">
                  <c:v>0.6</c:v>
                </c:pt>
                <c:pt idx="12">
                  <c:v>0.5</c:v>
                </c:pt>
                <c:pt idx="13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D08-45EA-B18E-DEFD09F4D325}"/>
            </c:ext>
          </c:extLst>
        </c:ser>
        <c:ser>
          <c:idx val="1"/>
          <c:order val="2"/>
          <c:tx>
            <c:strRef>
              <c:f>'63'!$D$2</c:f>
              <c:strCache>
                <c:ptCount val="1"/>
                <c:pt idx="0">
                  <c:v>25.03.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'63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3'!$D$3:$D$16</c:f>
              <c:numCache>
                <c:formatCode>General</c:formatCode>
                <c:ptCount val="14"/>
                <c:pt idx="0">
                  <c:v>0.30158730158699998</c:v>
                </c:pt>
                <c:pt idx="1">
                  <c:v>0.42424242424199998</c:v>
                </c:pt>
                <c:pt idx="2">
                  <c:v>0.5</c:v>
                </c:pt>
                <c:pt idx="3">
                  <c:v>0.176470588235</c:v>
                </c:pt>
                <c:pt idx="4">
                  <c:v>0.6</c:v>
                </c:pt>
                <c:pt idx="5">
                  <c:v>0.4</c:v>
                </c:pt>
                <c:pt idx="6">
                  <c:v>0.5</c:v>
                </c:pt>
                <c:pt idx="7">
                  <c:v>9.0909090908999998E-2</c:v>
                </c:pt>
                <c:pt idx="8">
                  <c:v>0.375</c:v>
                </c:pt>
                <c:pt idx="9">
                  <c:v>0.33333333333300003</c:v>
                </c:pt>
                <c:pt idx="10">
                  <c:v>0.28000000000000003</c:v>
                </c:pt>
                <c:pt idx="11">
                  <c:v>0.166666666666</c:v>
                </c:pt>
                <c:pt idx="12">
                  <c:v>0.33333333333300003</c:v>
                </c:pt>
                <c:pt idx="13">
                  <c:v>0.166666666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08-45EA-B18E-DEFD09F4D325}"/>
            </c:ext>
          </c:extLst>
        </c:ser>
        <c:ser>
          <c:idx val="0"/>
          <c:order val="3"/>
          <c:tx>
            <c:strRef>
              <c:f>'63'!$C$2</c:f>
              <c:strCache>
                <c:ptCount val="1"/>
                <c:pt idx="0">
                  <c:v>01.04.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'63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3'!$C$3:$C$16</c:f>
              <c:numCache>
                <c:formatCode>General</c:formatCode>
                <c:ptCount val="14"/>
                <c:pt idx="0">
                  <c:v>0.16935483870900001</c:v>
                </c:pt>
                <c:pt idx="1">
                  <c:v>0.34210526315700002</c:v>
                </c:pt>
                <c:pt idx="2">
                  <c:v>0.33333333333300003</c:v>
                </c:pt>
                <c:pt idx="3">
                  <c:v>0.33333333333300003</c:v>
                </c:pt>
                <c:pt idx="4">
                  <c:v>0.6</c:v>
                </c:pt>
                <c:pt idx="5">
                  <c:v>0.25</c:v>
                </c:pt>
                <c:pt idx="6">
                  <c:v>0.33333333333300003</c:v>
                </c:pt>
                <c:pt idx="7">
                  <c:v>0.33333333333300003</c:v>
                </c:pt>
                <c:pt idx="8">
                  <c:v>0.125</c:v>
                </c:pt>
                <c:pt idx="9">
                  <c:v>0.66666666666600005</c:v>
                </c:pt>
                <c:pt idx="10">
                  <c:v>0.39130434782599999</c:v>
                </c:pt>
                <c:pt idx="11">
                  <c:v>0.25</c:v>
                </c:pt>
                <c:pt idx="12">
                  <c:v>0.33333333333300003</c:v>
                </c:pt>
                <c:pt idx="1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08-45EA-B18E-DEFD09F4D3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63686816"/>
        <c:axId val="1642688000"/>
      </c:barChart>
      <c:catAx>
        <c:axId val="1663686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42688000"/>
        <c:crosses val="autoZero"/>
        <c:auto val="1"/>
        <c:lblAlgn val="ctr"/>
        <c:lblOffset val="100"/>
        <c:noMultiLvlLbl val="0"/>
      </c:catAx>
      <c:valAx>
        <c:axId val="164268800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63686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8049443959542598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-34 le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4.12 - 10.12</c:v>
                </c:pt>
                <c:pt idx="1">
                  <c:v>11.12 - 17.12</c:v>
                </c:pt>
                <c:pt idx="2">
                  <c:v>18.12 - 24.12</c:v>
                </c:pt>
                <c:pt idx="3">
                  <c:v>25.12 - 31.12</c:v>
                </c:pt>
                <c:pt idx="4">
                  <c:v>01.01 - 07.01</c:v>
                </c:pt>
                <c:pt idx="5">
                  <c:v>08.01 - 14.01</c:v>
                </c:pt>
                <c:pt idx="6">
                  <c:v>15.01 - 21.01</c:v>
                </c:pt>
                <c:pt idx="7">
                  <c:v>22.01 - 28.01</c:v>
                </c:pt>
                <c:pt idx="8">
                  <c:v>29.01 - 04.02</c:v>
                </c:pt>
                <c:pt idx="9">
                  <c:v>05.02 - 11.02</c:v>
                </c:pt>
                <c:pt idx="10">
                  <c:v>12.02 - 18.02</c:v>
                </c:pt>
                <c:pt idx="11">
                  <c:v>19.02 - 25.02</c:v>
                </c:pt>
                <c:pt idx="12">
                  <c:v>26.02 - 04.03</c:v>
                </c:pt>
                <c:pt idx="13">
                  <c:v>05.03 - 11.03</c:v>
                </c:pt>
                <c:pt idx="14">
                  <c:v>12.03 - 18.03</c:v>
                </c:pt>
                <c:pt idx="15">
                  <c:v>19.03 - 25.03</c:v>
                </c:pt>
                <c:pt idx="16">
                  <c:v>26.03 - 01.04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295</c:v>
                </c:pt>
                <c:pt idx="1">
                  <c:v>177</c:v>
                </c:pt>
                <c:pt idx="2">
                  <c:v>121</c:v>
                </c:pt>
                <c:pt idx="3">
                  <c:v>120</c:v>
                </c:pt>
                <c:pt idx="4">
                  <c:v>166</c:v>
                </c:pt>
                <c:pt idx="5">
                  <c:v>239</c:v>
                </c:pt>
                <c:pt idx="6">
                  <c:v>575</c:v>
                </c:pt>
                <c:pt idx="7">
                  <c:v>1057</c:v>
                </c:pt>
                <c:pt idx="8">
                  <c:v>1156</c:v>
                </c:pt>
                <c:pt idx="9">
                  <c:v>831</c:v>
                </c:pt>
                <c:pt idx="10">
                  <c:v>506</c:v>
                </c:pt>
                <c:pt idx="11">
                  <c:v>295</c:v>
                </c:pt>
                <c:pt idx="12">
                  <c:v>190</c:v>
                </c:pt>
                <c:pt idx="13">
                  <c:v>158</c:v>
                </c:pt>
                <c:pt idx="14">
                  <c:v>181</c:v>
                </c:pt>
                <c:pt idx="15">
                  <c:v>184</c:v>
                </c:pt>
                <c:pt idx="16">
                  <c:v>1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-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4.12 - 10.12</c:v>
                </c:pt>
                <c:pt idx="1">
                  <c:v>11.12 - 17.12</c:v>
                </c:pt>
                <c:pt idx="2">
                  <c:v>18.12 - 24.12</c:v>
                </c:pt>
                <c:pt idx="3">
                  <c:v>25.12 - 31.12</c:v>
                </c:pt>
                <c:pt idx="4">
                  <c:v>01.01 - 07.01</c:v>
                </c:pt>
                <c:pt idx="5">
                  <c:v>08.01 - 14.01</c:v>
                </c:pt>
                <c:pt idx="6">
                  <c:v>15.01 - 21.01</c:v>
                </c:pt>
                <c:pt idx="7">
                  <c:v>22.01 - 28.01</c:v>
                </c:pt>
                <c:pt idx="8">
                  <c:v>29.01 - 04.02</c:v>
                </c:pt>
                <c:pt idx="9">
                  <c:v>05.02 - 11.02</c:v>
                </c:pt>
                <c:pt idx="10">
                  <c:v>12.02 - 18.02</c:v>
                </c:pt>
                <c:pt idx="11">
                  <c:v>19.02 - 25.02</c:v>
                </c:pt>
                <c:pt idx="12">
                  <c:v>26.02 - 04.03</c:v>
                </c:pt>
                <c:pt idx="13">
                  <c:v>05.03 - 11.03</c:v>
                </c:pt>
                <c:pt idx="14">
                  <c:v>12.03 - 18.03</c:v>
                </c:pt>
                <c:pt idx="15">
                  <c:v>19.03 - 25.03</c:v>
                </c:pt>
                <c:pt idx="16">
                  <c:v>26.03 - 01.04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418</c:v>
                </c:pt>
                <c:pt idx="1">
                  <c:v>311</c:v>
                </c:pt>
                <c:pt idx="2">
                  <c:v>184</c:v>
                </c:pt>
                <c:pt idx="3">
                  <c:v>148</c:v>
                </c:pt>
                <c:pt idx="4">
                  <c:v>173</c:v>
                </c:pt>
                <c:pt idx="5">
                  <c:v>257</c:v>
                </c:pt>
                <c:pt idx="6">
                  <c:v>661</c:v>
                </c:pt>
                <c:pt idx="7">
                  <c:v>1275</c:v>
                </c:pt>
                <c:pt idx="8">
                  <c:v>1371</c:v>
                </c:pt>
                <c:pt idx="9">
                  <c:v>941</c:v>
                </c:pt>
                <c:pt idx="10">
                  <c:v>568</c:v>
                </c:pt>
                <c:pt idx="11">
                  <c:v>333</c:v>
                </c:pt>
                <c:pt idx="12">
                  <c:v>191</c:v>
                </c:pt>
                <c:pt idx="13">
                  <c:v>164</c:v>
                </c:pt>
                <c:pt idx="14">
                  <c:v>213</c:v>
                </c:pt>
                <c:pt idx="15">
                  <c:v>196</c:v>
                </c:pt>
                <c:pt idx="16">
                  <c:v>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4.12 - 10.12</c:v>
                </c:pt>
                <c:pt idx="1">
                  <c:v>11.12 - 17.12</c:v>
                </c:pt>
                <c:pt idx="2">
                  <c:v>18.12 - 24.12</c:v>
                </c:pt>
                <c:pt idx="3">
                  <c:v>25.12 - 31.12</c:v>
                </c:pt>
                <c:pt idx="4">
                  <c:v>01.01 - 07.01</c:v>
                </c:pt>
                <c:pt idx="5">
                  <c:v>08.01 - 14.01</c:v>
                </c:pt>
                <c:pt idx="6">
                  <c:v>15.01 - 21.01</c:v>
                </c:pt>
                <c:pt idx="7">
                  <c:v>22.01 - 28.01</c:v>
                </c:pt>
                <c:pt idx="8">
                  <c:v>29.01 - 04.02</c:v>
                </c:pt>
                <c:pt idx="9">
                  <c:v>05.02 - 11.02</c:v>
                </c:pt>
                <c:pt idx="10">
                  <c:v>12.02 - 18.02</c:v>
                </c:pt>
                <c:pt idx="11">
                  <c:v>19.02 - 25.02</c:v>
                </c:pt>
                <c:pt idx="12">
                  <c:v>26.02 - 04.03</c:v>
                </c:pt>
                <c:pt idx="13">
                  <c:v>05.03 - 11.03</c:v>
                </c:pt>
                <c:pt idx="14">
                  <c:v>12.03 - 18.03</c:v>
                </c:pt>
                <c:pt idx="15">
                  <c:v>19.03 - 25.03</c:v>
                </c:pt>
                <c:pt idx="16">
                  <c:v>26.03 - 01.04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162</c:v>
                </c:pt>
                <c:pt idx="1">
                  <c:v>104</c:v>
                </c:pt>
                <c:pt idx="2">
                  <c:v>61</c:v>
                </c:pt>
                <c:pt idx="3">
                  <c:v>51</c:v>
                </c:pt>
                <c:pt idx="4">
                  <c:v>66</c:v>
                </c:pt>
                <c:pt idx="5">
                  <c:v>90</c:v>
                </c:pt>
                <c:pt idx="6">
                  <c:v>275</c:v>
                </c:pt>
                <c:pt idx="7">
                  <c:v>462</c:v>
                </c:pt>
                <c:pt idx="8">
                  <c:v>557</c:v>
                </c:pt>
                <c:pt idx="9">
                  <c:v>447</c:v>
                </c:pt>
                <c:pt idx="10">
                  <c:v>258</c:v>
                </c:pt>
                <c:pt idx="11">
                  <c:v>128</c:v>
                </c:pt>
                <c:pt idx="12">
                  <c:v>98</c:v>
                </c:pt>
                <c:pt idx="13">
                  <c:v>87</c:v>
                </c:pt>
                <c:pt idx="14">
                  <c:v>111</c:v>
                </c:pt>
                <c:pt idx="15">
                  <c:v>107</c:v>
                </c:pt>
                <c:pt idx="16">
                  <c:v>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-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4.12 - 10.12</c:v>
                </c:pt>
                <c:pt idx="1">
                  <c:v>11.12 - 17.12</c:v>
                </c:pt>
                <c:pt idx="2">
                  <c:v>18.12 - 24.12</c:v>
                </c:pt>
                <c:pt idx="3">
                  <c:v>25.12 - 31.12</c:v>
                </c:pt>
                <c:pt idx="4">
                  <c:v>01.01 - 07.01</c:v>
                </c:pt>
                <c:pt idx="5">
                  <c:v>08.01 - 14.01</c:v>
                </c:pt>
                <c:pt idx="6">
                  <c:v>15.01 - 21.01</c:v>
                </c:pt>
                <c:pt idx="7">
                  <c:v>22.01 - 28.01</c:v>
                </c:pt>
                <c:pt idx="8">
                  <c:v>29.01 - 04.02</c:v>
                </c:pt>
                <c:pt idx="9">
                  <c:v>05.02 - 11.02</c:v>
                </c:pt>
                <c:pt idx="10">
                  <c:v>12.02 - 18.02</c:v>
                </c:pt>
                <c:pt idx="11">
                  <c:v>19.02 - 25.02</c:v>
                </c:pt>
                <c:pt idx="12">
                  <c:v>26.02 - 04.03</c:v>
                </c:pt>
                <c:pt idx="13">
                  <c:v>05.03 - 11.03</c:v>
                </c:pt>
                <c:pt idx="14">
                  <c:v>12.03 - 18.03</c:v>
                </c:pt>
                <c:pt idx="15">
                  <c:v>19.03 - 25.03</c:v>
                </c:pt>
                <c:pt idx="16">
                  <c:v>26.03 - 01.04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18</c:v>
                </c:pt>
                <c:pt idx="1">
                  <c:v>14</c:v>
                </c:pt>
                <c:pt idx="2">
                  <c:v>5</c:v>
                </c:pt>
                <c:pt idx="3">
                  <c:v>3</c:v>
                </c:pt>
                <c:pt idx="4">
                  <c:v>7</c:v>
                </c:pt>
                <c:pt idx="5">
                  <c:v>1</c:v>
                </c:pt>
                <c:pt idx="6">
                  <c:v>26</c:v>
                </c:pt>
                <c:pt idx="7">
                  <c:v>34</c:v>
                </c:pt>
                <c:pt idx="8">
                  <c:v>52</c:v>
                </c:pt>
                <c:pt idx="9">
                  <c:v>31</c:v>
                </c:pt>
                <c:pt idx="10">
                  <c:v>22</c:v>
                </c:pt>
                <c:pt idx="11">
                  <c:v>18</c:v>
                </c:pt>
                <c:pt idx="12">
                  <c:v>12</c:v>
                </c:pt>
                <c:pt idx="13">
                  <c:v>21</c:v>
                </c:pt>
                <c:pt idx="14">
                  <c:v>27</c:v>
                </c:pt>
                <c:pt idx="15">
                  <c:v>29</c:v>
                </c:pt>
                <c:pt idx="16">
                  <c:v>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4.12 - 10.12</c:v>
                </c:pt>
                <c:pt idx="1">
                  <c:v>11.12 - 17.12</c:v>
                </c:pt>
                <c:pt idx="2">
                  <c:v>18.12 - 24.12</c:v>
                </c:pt>
                <c:pt idx="3">
                  <c:v>25.12 - 31.12</c:v>
                </c:pt>
                <c:pt idx="4">
                  <c:v>01.01 - 07.01</c:v>
                </c:pt>
                <c:pt idx="5">
                  <c:v>08.01 - 14.01</c:v>
                </c:pt>
                <c:pt idx="6">
                  <c:v>15.01 - 21.01</c:v>
                </c:pt>
                <c:pt idx="7">
                  <c:v>22.01 - 28.01</c:v>
                </c:pt>
                <c:pt idx="8">
                  <c:v>29.01 - 04.02</c:v>
                </c:pt>
                <c:pt idx="9">
                  <c:v>05.02 - 11.02</c:v>
                </c:pt>
                <c:pt idx="10">
                  <c:v>12.02 - 18.02</c:v>
                </c:pt>
                <c:pt idx="11">
                  <c:v>19.02 - 25.02</c:v>
                </c:pt>
                <c:pt idx="12">
                  <c:v>26.02 - 04.03</c:v>
                </c:pt>
                <c:pt idx="13">
                  <c:v>05.03 - 11.03</c:v>
                </c:pt>
                <c:pt idx="14">
                  <c:v>12.03 - 18.03</c:v>
                </c:pt>
                <c:pt idx="15">
                  <c:v>19.03 - 25.03</c:v>
                </c:pt>
                <c:pt idx="16">
                  <c:v>26.03 - 01.04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3</c:v>
                </c:pt>
                <c:pt idx="1">
                  <c:v>0</c:v>
                </c:pt>
                <c:pt idx="2">
                  <c:v>2</c:v>
                </c:pt>
                <c:pt idx="3">
                  <c:v>4</c:v>
                </c:pt>
                <c:pt idx="4">
                  <c:v>1</c:v>
                </c:pt>
                <c:pt idx="5">
                  <c:v>4</c:v>
                </c:pt>
                <c:pt idx="6">
                  <c:v>12</c:v>
                </c:pt>
                <c:pt idx="7">
                  <c:v>7</c:v>
                </c:pt>
                <c:pt idx="8">
                  <c:v>9</c:v>
                </c:pt>
                <c:pt idx="9">
                  <c:v>6</c:v>
                </c:pt>
                <c:pt idx="10">
                  <c:v>5</c:v>
                </c:pt>
                <c:pt idx="11">
                  <c:v>6</c:v>
                </c:pt>
                <c:pt idx="12">
                  <c:v>4</c:v>
                </c:pt>
                <c:pt idx="13">
                  <c:v>12</c:v>
                </c:pt>
                <c:pt idx="14">
                  <c:v>16</c:v>
                </c:pt>
                <c:pt idx="15">
                  <c:v>14</c:v>
                </c:pt>
                <c:pt idx="16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379751207144663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66975803339063E-2"/>
          <c:y val="2.443979858152697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4.12 - 10.12</c:v>
                </c:pt>
                <c:pt idx="1">
                  <c:v>11.12 - 17.12</c:v>
                </c:pt>
                <c:pt idx="2">
                  <c:v>18.12 - 23.12</c:v>
                </c:pt>
                <c:pt idx="3">
                  <c:v>26.12 - 31.12</c:v>
                </c:pt>
                <c:pt idx="4">
                  <c:v>01.01 - 07.01</c:v>
                </c:pt>
                <c:pt idx="5">
                  <c:v>08.01 - 14.01</c:v>
                </c:pt>
                <c:pt idx="6">
                  <c:v>15.01 - 21.01</c:v>
                </c:pt>
                <c:pt idx="7">
                  <c:v>22.01 - 28.01</c:v>
                </c:pt>
                <c:pt idx="8">
                  <c:v>29.01 - 04.02</c:v>
                </c:pt>
                <c:pt idx="9">
                  <c:v>05.02 - 11.02</c:v>
                </c:pt>
                <c:pt idx="10">
                  <c:v>12.02 - 18.02</c:v>
                </c:pt>
                <c:pt idx="11">
                  <c:v>19.02 - 25.02</c:v>
                </c:pt>
                <c:pt idx="12">
                  <c:v>26.02 - 04.03</c:v>
                </c:pt>
                <c:pt idx="13">
                  <c:v>05.03 - 11.03</c:v>
                </c:pt>
                <c:pt idx="14">
                  <c:v>12.03 - 18.03</c:v>
                </c:pt>
                <c:pt idx="15">
                  <c:v>19.03 - 25.03</c:v>
                </c:pt>
                <c:pt idx="16">
                  <c:v>26.03 - 01.04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94</c:v>
                </c:pt>
                <c:pt idx="1">
                  <c:v>90</c:v>
                </c:pt>
                <c:pt idx="2">
                  <c:v>47</c:v>
                </c:pt>
                <c:pt idx="3">
                  <c:v>23</c:v>
                </c:pt>
                <c:pt idx="4">
                  <c:v>42</c:v>
                </c:pt>
                <c:pt idx="5">
                  <c:v>134</c:v>
                </c:pt>
                <c:pt idx="6">
                  <c:v>294</c:v>
                </c:pt>
                <c:pt idx="7">
                  <c:v>407</c:v>
                </c:pt>
                <c:pt idx="8">
                  <c:v>325</c:v>
                </c:pt>
                <c:pt idx="9">
                  <c:v>175</c:v>
                </c:pt>
                <c:pt idx="10">
                  <c:v>93</c:v>
                </c:pt>
                <c:pt idx="11">
                  <c:v>39</c:v>
                </c:pt>
                <c:pt idx="12">
                  <c:v>31</c:v>
                </c:pt>
                <c:pt idx="13">
                  <c:v>25</c:v>
                </c:pt>
                <c:pt idx="14">
                  <c:v>29</c:v>
                </c:pt>
                <c:pt idx="15">
                  <c:v>22</c:v>
                </c:pt>
                <c:pt idx="16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4.12 - 10.12</c:v>
                </c:pt>
                <c:pt idx="1">
                  <c:v>11.12 - 17.12</c:v>
                </c:pt>
                <c:pt idx="2">
                  <c:v>18.12 - 23.12</c:v>
                </c:pt>
                <c:pt idx="3">
                  <c:v>26.12 - 31.12</c:v>
                </c:pt>
                <c:pt idx="4">
                  <c:v>01.01 - 07.01</c:v>
                </c:pt>
                <c:pt idx="5">
                  <c:v>08.01 - 14.01</c:v>
                </c:pt>
                <c:pt idx="6">
                  <c:v>15.01 - 21.01</c:v>
                </c:pt>
                <c:pt idx="7">
                  <c:v>22.01 - 28.01</c:v>
                </c:pt>
                <c:pt idx="8">
                  <c:v>29.01 - 04.02</c:v>
                </c:pt>
                <c:pt idx="9">
                  <c:v>05.02 - 11.02</c:v>
                </c:pt>
                <c:pt idx="10">
                  <c:v>12.02 - 18.02</c:v>
                </c:pt>
                <c:pt idx="11">
                  <c:v>19.02 - 25.02</c:v>
                </c:pt>
                <c:pt idx="12">
                  <c:v>26.02 - 04.03</c:v>
                </c:pt>
                <c:pt idx="13">
                  <c:v>05.03 - 11.03</c:v>
                </c:pt>
                <c:pt idx="14">
                  <c:v>12.03 - 18.03</c:v>
                </c:pt>
                <c:pt idx="15">
                  <c:v>19.03 - 25.03</c:v>
                </c:pt>
                <c:pt idx="16">
                  <c:v>26.03 - 01.04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141</c:v>
                </c:pt>
                <c:pt idx="1">
                  <c:v>101</c:v>
                </c:pt>
                <c:pt idx="2">
                  <c:v>51</c:v>
                </c:pt>
                <c:pt idx="3">
                  <c:v>26</c:v>
                </c:pt>
                <c:pt idx="4">
                  <c:v>44</c:v>
                </c:pt>
                <c:pt idx="5">
                  <c:v>73</c:v>
                </c:pt>
                <c:pt idx="6">
                  <c:v>195</c:v>
                </c:pt>
                <c:pt idx="7">
                  <c:v>256</c:v>
                </c:pt>
                <c:pt idx="8">
                  <c:v>200</c:v>
                </c:pt>
                <c:pt idx="9">
                  <c:v>109</c:v>
                </c:pt>
                <c:pt idx="10">
                  <c:v>73</c:v>
                </c:pt>
                <c:pt idx="11">
                  <c:v>33</c:v>
                </c:pt>
                <c:pt idx="12">
                  <c:v>12</c:v>
                </c:pt>
                <c:pt idx="13">
                  <c:v>15</c:v>
                </c:pt>
                <c:pt idx="14">
                  <c:v>18</c:v>
                </c:pt>
                <c:pt idx="15">
                  <c:v>18</c:v>
                </c:pt>
                <c:pt idx="16">
                  <c:v>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4.12 - 10.12</c:v>
                </c:pt>
                <c:pt idx="1">
                  <c:v>11.12 - 17.12</c:v>
                </c:pt>
                <c:pt idx="2">
                  <c:v>18.12 - 23.12</c:v>
                </c:pt>
                <c:pt idx="3">
                  <c:v>26.12 - 31.12</c:v>
                </c:pt>
                <c:pt idx="4">
                  <c:v>01.01 - 07.01</c:v>
                </c:pt>
                <c:pt idx="5">
                  <c:v>08.01 - 14.01</c:v>
                </c:pt>
                <c:pt idx="6">
                  <c:v>15.01 - 21.01</c:v>
                </c:pt>
                <c:pt idx="7">
                  <c:v>22.01 - 28.01</c:v>
                </c:pt>
                <c:pt idx="8">
                  <c:v>29.01 - 04.02</c:v>
                </c:pt>
                <c:pt idx="9">
                  <c:v>05.02 - 11.02</c:v>
                </c:pt>
                <c:pt idx="10">
                  <c:v>12.02 - 18.02</c:v>
                </c:pt>
                <c:pt idx="11">
                  <c:v>19.02 - 25.02</c:v>
                </c:pt>
                <c:pt idx="12">
                  <c:v>26.02 - 04.03</c:v>
                </c:pt>
                <c:pt idx="13">
                  <c:v>05.03 - 11.03</c:v>
                </c:pt>
                <c:pt idx="14">
                  <c:v>12.03 - 18.03</c:v>
                </c:pt>
                <c:pt idx="15">
                  <c:v>19.03 - 25.03</c:v>
                </c:pt>
                <c:pt idx="16">
                  <c:v>26.03 - 01.04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24</c:v>
                </c:pt>
                <c:pt idx="1">
                  <c:v>23</c:v>
                </c:pt>
                <c:pt idx="2">
                  <c:v>9</c:v>
                </c:pt>
                <c:pt idx="3">
                  <c:v>11</c:v>
                </c:pt>
                <c:pt idx="4">
                  <c:v>7</c:v>
                </c:pt>
                <c:pt idx="5">
                  <c:v>11</c:v>
                </c:pt>
                <c:pt idx="6">
                  <c:v>19</c:v>
                </c:pt>
                <c:pt idx="7">
                  <c:v>40</c:v>
                </c:pt>
                <c:pt idx="8">
                  <c:v>40</c:v>
                </c:pt>
                <c:pt idx="9">
                  <c:v>41</c:v>
                </c:pt>
                <c:pt idx="10">
                  <c:v>18</c:v>
                </c:pt>
                <c:pt idx="11">
                  <c:v>15</c:v>
                </c:pt>
                <c:pt idx="12">
                  <c:v>13</c:v>
                </c:pt>
                <c:pt idx="13">
                  <c:v>10</c:v>
                </c:pt>
                <c:pt idx="14">
                  <c:v>12</c:v>
                </c:pt>
                <c:pt idx="15">
                  <c:v>24</c:v>
                </c:pt>
                <c:pt idx="16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92622787503771553"/>
          <c:h val="0.81133498943526128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Reinfekce</c:v>
                </c:pt>
              </c:strCache>
            </c:strRef>
          </c:tx>
          <c:spPr>
            <a:ln w="28575" cap="rnd">
              <a:solidFill>
                <a:srgbClr val="FFFFFF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51</c:f>
              <c:numCache>
                <c:formatCode>m/d/yyyy</c:formatCode>
                <c:ptCount val="450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  <c:pt idx="102">
                  <c:v>44299</c:v>
                </c:pt>
                <c:pt idx="103">
                  <c:v>44300</c:v>
                </c:pt>
                <c:pt idx="104">
                  <c:v>44301</c:v>
                </c:pt>
                <c:pt idx="105">
                  <c:v>44302</c:v>
                </c:pt>
                <c:pt idx="106">
                  <c:v>44303</c:v>
                </c:pt>
                <c:pt idx="107">
                  <c:v>44304</c:v>
                </c:pt>
                <c:pt idx="108">
                  <c:v>44305</c:v>
                </c:pt>
                <c:pt idx="109">
                  <c:v>44306</c:v>
                </c:pt>
                <c:pt idx="110">
                  <c:v>44307</c:v>
                </c:pt>
                <c:pt idx="111">
                  <c:v>44308</c:v>
                </c:pt>
                <c:pt idx="112">
                  <c:v>44309</c:v>
                </c:pt>
                <c:pt idx="113">
                  <c:v>44310</c:v>
                </c:pt>
                <c:pt idx="114">
                  <c:v>44311</c:v>
                </c:pt>
                <c:pt idx="115">
                  <c:v>44312</c:v>
                </c:pt>
                <c:pt idx="116">
                  <c:v>44313</c:v>
                </c:pt>
                <c:pt idx="117">
                  <c:v>44314</c:v>
                </c:pt>
                <c:pt idx="118">
                  <c:v>44315</c:v>
                </c:pt>
                <c:pt idx="119">
                  <c:v>44316</c:v>
                </c:pt>
                <c:pt idx="120">
                  <c:v>44317</c:v>
                </c:pt>
                <c:pt idx="121">
                  <c:v>44318</c:v>
                </c:pt>
                <c:pt idx="122">
                  <c:v>44319</c:v>
                </c:pt>
                <c:pt idx="123">
                  <c:v>44320</c:v>
                </c:pt>
                <c:pt idx="124">
                  <c:v>44321</c:v>
                </c:pt>
                <c:pt idx="125">
                  <c:v>44322</c:v>
                </c:pt>
                <c:pt idx="126">
                  <c:v>44323</c:v>
                </c:pt>
                <c:pt idx="127">
                  <c:v>44324</c:v>
                </c:pt>
                <c:pt idx="128">
                  <c:v>44325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1</c:v>
                </c:pt>
                <c:pt idx="135">
                  <c:v>44332</c:v>
                </c:pt>
                <c:pt idx="136">
                  <c:v>44333</c:v>
                </c:pt>
                <c:pt idx="137">
                  <c:v>44334</c:v>
                </c:pt>
                <c:pt idx="138">
                  <c:v>44335</c:v>
                </c:pt>
                <c:pt idx="139">
                  <c:v>44336</c:v>
                </c:pt>
                <c:pt idx="140">
                  <c:v>44337</c:v>
                </c:pt>
                <c:pt idx="141">
                  <c:v>44338</c:v>
                </c:pt>
                <c:pt idx="142">
                  <c:v>44339</c:v>
                </c:pt>
                <c:pt idx="143">
                  <c:v>44340</c:v>
                </c:pt>
                <c:pt idx="144">
                  <c:v>44341</c:v>
                </c:pt>
                <c:pt idx="145">
                  <c:v>44342</c:v>
                </c:pt>
                <c:pt idx="146">
                  <c:v>44343</c:v>
                </c:pt>
                <c:pt idx="147">
                  <c:v>44344</c:v>
                </c:pt>
                <c:pt idx="148">
                  <c:v>44345</c:v>
                </c:pt>
                <c:pt idx="149">
                  <c:v>44347</c:v>
                </c:pt>
                <c:pt idx="150">
                  <c:v>44348</c:v>
                </c:pt>
                <c:pt idx="151">
                  <c:v>44349</c:v>
                </c:pt>
                <c:pt idx="152">
                  <c:v>44350</c:v>
                </c:pt>
                <c:pt idx="153">
                  <c:v>44351</c:v>
                </c:pt>
                <c:pt idx="154">
                  <c:v>44352</c:v>
                </c:pt>
                <c:pt idx="155">
                  <c:v>44354</c:v>
                </c:pt>
                <c:pt idx="156">
                  <c:v>44355</c:v>
                </c:pt>
                <c:pt idx="157">
                  <c:v>44356</c:v>
                </c:pt>
                <c:pt idx="158">
                  <c:v>44357</c:v>
                </c:pt>
                <c:pt idx="159">
                  <c:v>44358</c:v>
                </c:pt>
                <c:pt idx="160">
                  <c:v>44359</c:v>
                </c:pt>
                <c:pt idx="161">
                  <c:v>44361</c:v>
                </c:pt>
                <c:pt idx="162">
                  <c:v>44362</c:v>
                </c:pt>
                <c:pt idx="163">
                  <c:v>44364</c:v>
                </c:pt>
                <c:pt idx="164">
                  <c:v>44365</c:v>
                </c:pt>
                <c:pt idx="165">
                  <c:v>44366</c:v>
                </c:pt>
                <c:pt idx="166">
                  <c:v>44367</c:v>
                </c:pt>
                <c:pt idx="167">
                  <c:v>44368</c:v>
                </c:pt>
                <c:pt idx="168">
                  <c:v>44369</c:v>
                </c:pt>
                <c:pt idx="169">
                  <c:v>44371</c:v>
                </c:pt>
                <c:pt idx="170">
                  <c:v>44372</c:v>
                </c:pt>
                <c:pt idx="171">
                  <c:v>44374</c:v>
                </c:pt>
                <c:pt idx="172">
                  <c:v>44375</c:v>
                </c:pt>
                <c:pt idx="173">
                  <c:v>44376</c:v>
                </c:pt>
                <c:pt idx="174">
                  <c:v>44377</c:v>
                </c:pt>
                <c:pt idx="175">
                  <c:v>44378</c:v>
                </c:pt>
                <c:pt idx="176">
                  <c:v>44379</c:v>
                </c:pt>
                <c:pt idx="177">
                  <c:v>44380</c:v>
                </c:pt>
                <c:pt idx="178">
                  <c:v>44381</c:v>
                </c:pt>
                <c:pt idx="179">
                  <c:v>44382</c:v>
                </c:pt>
                <c:pt idx="180">
                  <c:v>44383</c:v>
                </c:pt>
                <c:pt idx="181">
                  <c:v>44384</c:v>
                </c:pt>
                <c:pt idx="182">
                  <c:v>44385</c:v>
                </c:pt>
                <c:pt idx="183">
                  <c:v>44386</c:v>
                </c:pt>
                <c:pt idx="184">
                  <c:v>44387</c:v>
                </c:pt>
                <c:pt idx="185">
                  <c:v>44388</c:v>
                </c:pt>
                <c:pt idx="186">
                  <c:v>44389</c:v>
                </c:pt>
                <c:pt idx="187">
                  <c:v>44390</c:v>
                </c:pt>
                <c:pt idx="188">
                  <c:v>44391</c:v>
                </c:pt>
                <c:pt idx="189">
                  <c:v>44392</c:v>
                </c:pt>
                <c:pt idx="190">
                  <c:v>44393</c:v>
                </c:pt>
                <c:pt idx="191">
                  <c:v>44394</c:v>
                </c:pt>
                <c:pt idx="192">
                  <c:v>44395</c:v>
                </c:pt>
                <c:pt idx="193">
                  <c:v>44396</c:v>
                </c:pt>
                <c:pt idx="194">
                  <c:v>44397</c:v>
                </c:pt>
                <c:pt idx="195">
                  <c:v>44398</c:v>
                </c:pt>
                <c:pt idx="196">
                  <c:v>44399</c:v>
                </c:pt>
                <c:pt idx="197">
                  <c:v>44400</c:v>
                </c:pt>
                <c:pt idx="198">
                  <c:v>44401</c:v>
                </c:pt>
                <c:pt idx="199">
                  <c:v>44402</c:v>
                </c:pt>
                <c:pt idx="200">
                  <c:v>44403</c:v>
                </c:pt>
                <c:pt idx="201">
                  <c:v>44404</c:v>
                </c:pt>
                <c:pt idx="202">
                  <c:v>44405</c:v>
                </c:pt>
                <c:pt idx="203">
                  <c:v>44406</c:v>
                </c:pt>
                <c:pt idx="204">
                  <c:v>44407</c:v>
                </c:pt>
                <c:pt idx="205">
                  <c:v>44408</c:v>
                </c:pt>
                <c:pt idx="206">
                  <c:v>44409</c:v>
                </c:pt>
                <c:pt idx="207">
                  <c:v>44410</c:v>
                </c:pt>
                <c:pt idx="208">
                  <c:v>44411</c:v>
                </c:pt>
                <c:pt idx="209">
                  <c:v>44412</c:v>
                </c:pt>
                <c:pt idx="210">
                  <c:v>44413</c:v>
                </c:pt>
                <c:pt idx="211">
                  <c:v>44414</c:v>
                </c:pt>
                <c:pt idx="212">
                  <c:v>44415</c:v>
                </c:pt>
                <c:pt idx="213">
                  <c:v>44416</c:v>
                </c:pt>
                <c:pt idx="214">
                  <c:v>44417</c:v>
                </c:pt>
                <c:pt idx="215">
                  <c:v>44418</c:v>
                </c:pt>
                <c:pt idx="216">
                  <c:v>44419</c:v>
                </c:pt>
                <c:pt idx="217">
                  <c:v>44420</c:v>
                </c:pt>
                <c:pt idx="218">
                  <c:v>44421</c:v>
                </c:pt>
                <c:pt idx="219">
                  <c:v>44422</c:v>
                </c:pt>
                <c:pt idx="220">
                  <c:v>44423</c:v>
                </c:pt>
                <c:pt idx="221">
                  <c:v>44424</c:v>
                </c:pt>
                <c:pt idx="222">
                  <c:v>44425</c:v>
                </c:pt>
                <c:pt idx="223">
                  <c:v>44426</c:v>
                </c:pt>
                <c:pt idx="224">
                  <c:v>44427</c:v>
                </c:pt>
                <c:pt idx="225">
                  <c:v>44428</c:v>
                </c:pt>
                <c:pt idx="226">
                  <c:v>44429</c:v>
                </c:pt>
                <c:pt idx="227">
                  <c:v>44430</c:v>
                </c:pt>
                <c:pt idx="228">
                  <c:v>44431</c:v>
                </c:pt>
                <c:pt idx="229">
                  <c:v>44432</c:v>
                </c:pt>
                <c:pt idx="230">
                  <c:v>44433</c:v>
                </c:pt>
                <c:pt idx="231">
                  <c:v>44434</c:v>
                </c:pt>
                <c:pt idx="232">
                  <c:v>44435</c:v>
                </c:pt>
                <c:pt idx="233">
                  <c:v>44436</c:v>
                </c:pt>
                <c:pt idx="234">
                  <c:v>44437</c:v>
                </c:pt>
                <c:pt idx="235">
                  <c:v>44438</c:v>
                </c:pt>
                <c:pt idx="236">
                  <c:v>44439</c:v>
                </c:pt>
                <c:pt idx="237">
                  <c:v>44440</c:v>
                </c:pt>
                <c:pt idx="238">
                  <c:v>44441</c:v>
                </c:pt>
                <c:pt idx="239">
                  <c:v>44442</c:v>
                </c:pt>
                <c:pt idx="240">
                  <c:v>44443</c:v>
                </c:pt>
                <c:pt idx="241">
                  <c:v>44444</c:v>
                </c:pt>
                <c:pt idx="242">
                  <c:v>44445</c:v>
                </c:pt>
                <c:pt idx="243">
                  <c:v>44446</c:v>
                </c:pt>
                <c:pt idx="244">
                  <c:v>44447</c:v>
                </c:pt>
                <c:pt idx="245">
                  <c:v>44448</c:v>
                </c:pt>
                <c:pt idx="246">
                  <c:v>44449</c:v>
                </c:pt>
                <c:pt idx="247">
                  <c:v>44450</c:v>
                </c:pt>
                <c:pt idx="248">
                  <c:v>44451</c:v>
                </c:pt>
                <c:pt idx="249">
                  <c:v>44452</c:v>
                </c:pt>
                <c:pt idx="250">
                  <c:v>44453</c:v>
                </c:pt>
                <c:pt idx="251">
                  <c:v>44454</c:v>
                </c:pt>
                <c:pt idx="252">
                  <c:v>44455</c:v>
                </c:pt>
                <c:pt idx="253">
                  <c:v>44456</c:v>
                </c:pt>
                <c:pt idx="254">
                  <c:v>44457</c:v>
                </c:pt>
                <c:pt idx="255">
                  <c:v>44458</c:v>
                </c:pt>
                <c:pt idx="256">
                  <c:v>44459</c:v>
                </c:pt>
                <c:pt idx="257">
                  <c:v>44460</c:v>
                </c:pt>
                <c:pt idx="258">
                  <c:v>44461</c:v>
                </c:pt>
                <c:pt idx="259">
                  <c:v>44462</c:v>
                </c:pt>
                <c:pt idx="260">
                  <c:v>44463</c:v>
                </c:pt>
                <c:pt idx="261">
                  <c:v>44464</c:v>
                </c:pt>
                <c:pt idx="262">
                  <c:v>44465</c:v>
                </c:pt>
                <c:pt idx="263">
                  <c:v>44466</c:v>
                </c:pt>
                <c:pt idx="264">
                  <c:v>44467</c:v>
                </c:pt>
                <c:pt idx="265">
                  <c:v>44468</c:v>
                </c:pt>
                <c:pt idx="266">
                  <c:v>44469</c:v>
                </c:pt>
                <c:pt idx="267">
                  <c:v>44470</c:v>
                </c:pt>
                <c:pt idx="268">
                  <c:v>44471</c:v>
                </c:pt>
                <c:pt idx="269">
                  <c:v>44472</c:v>
                </c:pt>
                <c:pt idx="270">
                  <c:v>44473</c:v>
                </c:pt>
                <c:pt idx="271">
                  <c:v>44474</c:v>
                </c:pt>
                <c:pt idx="272">
                  <c:v>44475</c:v>
                </c:pt>
                <c:pt idx="273">
                  <c:v>44476</c:v>
                </c:pt>
                <c:pt idx="274">
                  <c:v>44477</c:v>
                </c:pt>
                <c:pt idx="275">
                  <c:v>44478</c:v>
                </c:pt>
                <c:pt idx="276">
                  <c:v>44479</c:v>
                </c:pt>
                <c:pt idx="277">
                  <c:v>44480</c:v>
                </c:pt>
                <c:pt idx="278">
                  <c:v>44481</c:v>
                </c:pt>
                <c:pt idx="279">
                  <c:v>44482</c:v>
                </c:pt>
                <c:pt idx="280">
                  <c:v>44483</c:v>
                </c:pt>
                <c:pt idx="281">
                  <c:v>44484</c:v>
                </c:pt>
                <c:pt idx="282">
                  <c:v>44485</c:v>
                </c:pt>
                <c:pt idx="283">
                  <c:v>44486</c:v>
                </c:pt>
                <c:pt idx="284">
                  <c:v>44487</c:v>
                </c:pt>
                <c:pt idx="285">
                  <c:v>44488</c:v>
                </c:pt>
                <c:pt idx="286">
                  <c:v>44489</c:v>
                </c:pt>
                <c:pt idx="287">
                  <c:v>44490</c:v>
                </c:pt>
                <c:pt idx="288">
                  <c:v>44491</c:v>
                </c:pt>
                <c:pt idx="289">
                  <c:v>44492</c:v>
                </c:pt>
                <c:pt idx="290">
                  <c:v>44493</c:v>
                </c:pt>
                <c:pt idx="291">
                  <c:v>44494</c:v>
                </c:pt>
                <c:pt idx="292">
                  <c:v>44495</c:v>
                </c:pt>
                <c:pt idx="293">
                  <c:v>44496</c:v>
                </c:pt>
                <c:pt idx="294">
                  <c:v>44497</c:v>
                </c:pt>
                <c:pt idx="295">
                  <c:v>44498</c:v>
                </c:pt>
                <c:pt idx="296">
                  <c:v>44499</c:v>
                </c:pt>
                <c:pt idx="297">
                  <c:v>44500</c:v>
                </c:pt>
                <c:pt idx="298">
                  <c:v>44501</c:v>
                </c:pt>
                <c:pt idx="299">
                  <c:v>44502</c:v>
                </c:pt>
                <c:pt idx="300">
                  <c:v>44503</c:v>
                </c:pt>
                <c:pt idx="301">
                  <c:v>44504</c:v>
                </c:pt>
                <c:pt idx="302">
                  <c:v>44505</c:v>
                </c:pt>
                <c:pt idx="303">
                  <c:v>44506</c:v>
                </c:pt>
                <c:pt idx="304">
                  <c:v>44507</c:v>
                </c:pt>
                <c:pt idx="305">
                  <c:v>44508</c:v>
                </c:pt>
                <c:pt idx="306">
                  <c:v>44509</c:v>
                </c:pt>
                <c:pt idx="307">
                  <c:v>44510</c:v>
                </c:pt>
                <c:pt idx="308">
                  <c:v>44511</c:v>
                </c:pt>
                <c:pt idx="309">
                  <c:v>44512</c:v>
                </c:pt>
                <c:pt idx="310">
                  <c:v>44513</c:v>
                </c:pt>
                <c:pt idx="311">
                  <c:v>44514</c:v>
                </c:pt>
                <c:pt idx="312">
                  <c:v>44515</c:v>
                </c:pt>
                <c:pt idx="313">
                  <c:v>44516</c:v>
                </c:pt>
                <c:pt idx="314">
                  <c:v>44517</c:v>
                </c:pt>
                <c:pt idx="315">
                  <c:v>44518</c:v>
                </c:pt>
                <c:pt idx="316">
                  <c:v>44519</c:v>
                </c:pt>
                <c:pt idx="317">
                  <c:v>44520</c:v>
                </c:pt>
                <c:pt idx="318">
                  <c:v>44521</c:v>
                </c:pt>
                <c:pt idx="319">
                  <c:v>44522</c:v>
                </c:pt>
                <c:pt idx="320">
                  <c:v>44523</c:v>
                </c:pt>
                <c:pt idx="321">
                  <c:v>44524</c:v>
                </c:pt>
                <c:pt idx="322">
                  <c:v>44525</c:v>
                </c:pt>
                <c:pt idx="323">
                  <c:v>44526</c:v>
                </c:pt>
                <c:pt idx="324">
                  <c:v>44527</c:v>
                </c:pt>
                <c:pt idx="325">
                  <c:v>44528</c:v>
                </c:pt>
                <c:pt idx="326">
                  <c:v>44529</c:v>
                </c:pt>
                <c:pt idx="327">
                  <c:v>44530</c:v>
                </c:pt>
                <c:pt idx="328">
                  <c:v>44531</c:v>
                </c:pt>
                <c:pt idx="329">
                  <c:v>44532</c:v>
                </c:pt>
                <c:pt idx="330">
                  <c:v>44533</c:v>
                </c:pt>
                <c:pt idx="331">
                  <c:v>44534</c:v>
                </c:pt>
                <c:pt idx="332">
                  <c:v>44535</c:v>
                </c:pt>
                <c:pt idx="333">
                  <c:v>44536</c:v>
                </c:pt>
                <c:pt idx="334">
                  <c:v>44537</c:v>
                </c:pt>
                <c:pt idx="335">
                  <c:v>44538</c:v>
                </c:pt>
                <c:pt idx="336">
                  <c:v>44539</c:v>
                </c:pt>
                <c:pt idx="337">
                  <c:v>44540</c:v>
                </c:pt>
                <c:pt idx="338">
                  <c:v>44541</c:v>
                </c:pt>
                <c:pt idx="339">
                  <c:v>44542</c:v>
                </c:pt>
                <c:pt idx="340">
                  <c:v>44543</c:v>
                </c:pt>
                <c:pt idx="341">
                  <c:v>44544</c:v>
                </c:pt>
                <c:pt idx="342">
                  <c:v>44545</c:v>
                </c:pt>
                <c:pt idx="343">
                  <c:v>44546</c:v>
                </c:pt>
                <c:pt idx="344">
                  <c:v>44547</c:v>
                </c:pt>
                <c:pt idx="345">
                  <c:v>44548</c:v>
                </c:pt>
                <c:pt idx="346">
                  <c:v>44549</c:v>
                </c:pt>
                <c:pt idx="347">
                  <c:v>44550</c:v>
                </c:pt>
                <c:pt idx="348">
                  <c:v>44551</c:v>
                </c:pt>
                <c:pt idx="349">
                  <c:v>44552</c:v>
                </c:pt>
                <c:pt idx="350">
                  <c:v>44553</c:v>
                </c:pt>
                <c:pt idx="351">
                  <c:v>44554</c:v>
                </c:pt>
                <c:pt idx="352">
                  <c:v>44555</c:v>
                </c:pt>
                <c:pt idx="353">
                  <c:v>44556</c:v>
                </c:pt>
                <c:pt idx="354">
                  <c:v>44557</c:v>
                </c:pt>
                <c:pt idx="355">
                  <c:v>44558</c:v>
                </c:pt>
                <c:pt idx="356">
                  <c:v>44559</c:v>
                </c:pt>
                <c:pt idx="357">
                  <c:v>44560</c:v>
                </c:pt>
                <c:pt idx="358">
                  <c:v>44561</c:v>
                </c:pt>
                <c:pt idx="359">
                  <c:v>44562</c:v>
                </c:pt>
                <c:pt idx="360">
                  <c:v>44563</c:v>
                </c:pt>
                <c:pt idx="361">
                  <c:v>44564</c:v>
                </c:pt>
                <c:pt idx="362">
                  <c:v>44565</c:v>
                </c:pt>
                <c:pt idx="363">
                  <c:v>44566</c:v>
                </c:pt>
                <c:pt idx="364">
                  <c:v>44567</c:v>
                </c:pt>
                <c:pt idx="365">
                  <c:v>44568</c:v>
                </c:pt>
                <c:pt idx="366">
                  <c:v>44569</c:v>
                </c:pt>
                <c:pt idx="367">
                  <c:v>44570</c:v>
                </c:pt>
                <c:pt idx="368">
                  <c:v>44571</c:v>
                </c:pt>
                <c:pt idx="369">
                  <c:v>44572</c:v>
                </c:pt>
                <c:pt idx="370">
                  <c:v>44573</c:v>
                </c:pt>
                <c:pt idx="371">
                  <c:v>44574</c:v>
                </c:pt>
                <c:pt idx="372">
                  <c:v>44575</c:v>
                </c:pt>
                <c:pt idx="373">
                  <c:v>44576</c:v>
                </c:pt>
                <c:pt idx="374">
                  <c:v>44577</c:v>
                </c:pt>
                <c:pt idx="375">
                  <c:v>44578</c:v>
                </c:pt>
                <c:pt idx="376">
                  <c:v>44579</c:v>
                </c:pt>
                <c:pt idx="377">
                  <c:v>44580</c:v>
                </c:pt>
                <c:pt idx="378">
                  <c:v>44581</c:v>
                </c:pt>
                <c:pt idx="379">
                  <c:v>44582</c:v>
                </c:pt>
                <c:pt idx="380">
                  <c:v>44583</c:v>
                </c:pt>
                <c:pt idx="381">
                  <c:v>44584</c:v>
                </c:pt>
                <c:pt idx="382">
                  <c:v>44585</c:v>
                </c:pt>
                <c:pt idx="383">
                  <c:v>44586</c:v>
                </c:pt>
                <c:pt idx="384">
                  <c:v>44587</c:v>
                </c:pt>
                <c:pt idx="385">
                  <c:v>44588</c:v>
                </c:pt>
                <c:pt idx="386">
                  <c:v>44589</c:v>
                </c:pt>
                <c:pt idx="387">
                  <c:v>44590</c:v>
                </c:pt>
                <c:pt idx="388">
                  <c:v>44591</c:v>
                </c:pt>
                <c:pt idx="389">
                  <c:v>44592</c:v>
                </c:pt>
                <c:pt idx="390">
                  <c:v>44593</c:v>
                </c:pt>
                <c:pt idx="391">
                  <c:v>44594</c:v>
                </c:pt>
                <c:pt idx="392">
                  <c:v>44595</c:v>
                </c:pt>
                <c:pt idx="393">
                  <c:v>44596</c:v>
                </c:pt>
                <c:pt idx="394">
                  <c:v>44597</c:v>
                </c:pt>
                <c:pt idx="395">
                  <c:v>44598</c:v>
                </c:pt>
                <c:pt idx="396">
                  <c:v>44599</c:v>
                </c:pt>
                <c:pt idx="397">
                  <c:v>44600</c:v>
                </c:pt>
                <c:pt idx="398">
                  <c:v>44601</c:v>
                </c:pt>
                <c:pt idx="399">
                  <c:v>44602</c:v>
                </c:pt>
                <c:pt idx="400">
                  <c:v>44603</c:v>
                </c:pt>
                <c:pt idx="401">
                  <c:v>44604</c:v>
                </c:pt>
                <c:pt idx="402">
                  <c:v>44605</c:v>
                </c:pt>
                <c:pt idx="403">
                  <c:v>44606</c:v>
                </c:pt>
                <c:pt idx="404">
                  <c:v>44607</c:v>
                </c:pt>
                <c:pt idx="405">
                  <c:v>44608</c:v>
                </c:pt>
                <c:pt idx="406">
                  <c:v>44609</c:v>
                </c:pt>
                <c:pt idx="407">
                  <c:v>44610</c:v>
                </c:pt>
                <c:pt idx="408">
                  <c:v>44611</c:v>
                </c:pt>
                <c:pt idx="409">
                  <c:v>44612</c:v>
                </c:pt>
                <c:pt idx="410">
                  <c:v>44613</c:v>
                </c:pt>
                <c:pt idx="411">
                  <c:v>44614</c:v>
                </c:pt>
                <c:pt idx="412">
                  <c:v>44615</c:v>
                </c:pt>
                <c:pt idx="413">
                  <c:v>44616</c:v>
                </c:pt>
                <c:pt idx="414">
                  <c:v>44617</c:v>
                </c:pt>
                <c:pt idx="415">
                  <c:v>44618</c:v>
                </c:pt>
                <c:pt idx="416">
                  <c:v>44619</c:v>
                </c:pt>
                <c:pt idx="417">
                  <c:v>44620</c:v>
                </c:pt>
                <c:pt idx="418">
                  <c:v>44621</c:v>
                </c:pt>
                <c:pt idx="419">
                  <c:v>44622</c:v>
                </c:pt>
                <c:pt idx="420">
                  <c:v>44623</c:v>
                </c:pt>
                <c:pt idx="421">
                  <c:v>44624</c:v>
                </c:pt>
                <c:pt idx="422">
                  <c:v>44625</c:v>
                </c:pt>
                <c:pt idx="423">
                  <c:v>44626</c:v>
                </c:pt>
                <c:pt idx="424">
                  <c:v>44627</c:v>
                </c:pt>
                <c:pt idx="425">
                  <c:v>44628</c:v>
                </c:pt>
                <c:pt idx="426">
                  <c:v>44629</c:v>
                </c:pt>
                <c:pt idx="427">
                  <c:v>44630</c:v>
                </c:pt>
                <c:pt idx="428">
                  <c:v>44631</c:v>
                </c:pt>
                <c:pt idx="429">
                  <c:v>44632</c:v>
                </c:pt>
                <c:pt idx="430">
                  <c:v>44633</c:v>
                </c:pt>
                <c:pt idx="431">
                  <c:v>44634</c:v>
                </c:pt>
                <c:pt idx="432">
                  <c:v>44635</c:v>
                </c:pt>
                <c:pt idx="433">
                  <c:v>44636</c:v>
                </c:pt>
                <c:pt idx="434">
                  <c:v>44637</c:v>
                </c:pt>
                <c:pt idx="435">
                  <c:v>44638</c:v>
                </c:pt>
                <c:pt idx="436">
                  <c:v>44639</c:v>
                </c:pt>
                <c:pt idx="437">
                  <c:v>44640</c:v>
                </c:pt>
                <c:pt idx="438">
                  <c:v>44641</c:v>
                </c:pt>
                <c:pt idx="439">
                  <c:v>44642</c:v>
                </c:pt>
                <c:pt idx="440">
                  <c:v>44643</c:v>
                </c:pt>
                <c:pt idx="441">
                  <c:v>44644</c:v>
                </c:pt>
                <c:pt idx="442">
                  <c:v>44645</c:v>
                </c:pt>
                <c:pt idx="443">
                  <c:v>44646</c:v>
                </c:pt>
                <c:pt idx="444">
                  <c:v>44647</c:v>
                </c:pt>
                <c:pt idx="445">
                  <c:v>44648</c:v>
                </c:pt>
                <c:pt idx="446">
                  <c:v>44649</c:v>
                </c:pt>
                <c:pt idx="447">
                  <c:v>44650</c:v>
                </c:pt>
                <c:pt idx="448">
                  <c:v>44651</c:v>
                </c:pt>
                <c:pt idx="449">
                  <c:v>44652</c:v>
                </c:pt>
              </c:numCache>
            </c:numRef>
          </c:cat>
          <c:val>
            <c:numRef>
              <c:f>List1!$B$2:$B$451</c:f>
              <c:numCache>
                <c:formatCode>General</c:formatCode>
                <c:ptCount val="450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2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1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1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1</c:v>
                </c:pt>
                <c:pt idx="47">
                  <c:v>0</c:v>
                </c:pt>
                <c:pt idx="48">
                  <c:v>1</c:v>
                </c:pt>
                <c:pt idx="49">
                  <c:v>1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2</c:v>
                </c:pt>
                <c:pt idx="54">
                  <c:v>1</c:v>
                </c:pt>
                <c:pt idx="55">
                  <c:v>1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0</c:v>
                </c:pt>
                <c:pt idx="64">
                  <c:v>0</c:v>
                </c:pt>
                <c:pt idx="65">
                  <c:v>1</c:v>
                </c:pt>
                <c:pt idx="66">
                  <c:v>0</c:v>
                </c:pt>
                <c:pt idx="67">
                  <c:v>2</c:v>
                </c:pt>
                <c:pt idx="68">
                  <c:v>1</c:v>
                </c:pt>
                <c:pt idx="69">
                  <c:v>1</c:v>
                </c:pt>
                <c:pt idx="70">
                  <c:v>3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2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1</c:v>
                </c:pt>
                <c:pt idx="81">
                  <c:v>3</c:v>
                </c:pt>
                <c:pt idx="82">
                  <c:v>1</c:v>
                </c:pt>
                <c:pt idx="83">
                  <c:v>0</c:v>
                </c:pt>
                <c:pt idx="84">
                  <c:v>1</c:v>
                </c:pt>
                <c:pt idx="85">
                  <c:v>0</c:v>
                </c:pt>
                <c:pt idx="86">
                  <c:v>0</c:v>
                </c:pt>
                <c:pt idx="87">
                  <c:v>1</c:v>
                </c:pt>
                <c:pt idx="88">
                  <c:v>0</c:v>
                </c:pt>
                <c:pt idx="89">
                  <c:v>1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1</c:v>
                </c:pt>
                <c:pt idx="103">
                  <c:v>0</c:v>
                </c:pt>
                <c:pt idx="104">
                  <c:v>0</c:v>
                </c:pt>
                <c:pt idx="105">
                  <c:v>1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1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1</c:v>
                </c:pt>
                <c:pt idx="117">
                  <c:v>0</c:v>
                </c:pt>
                <c:pt idx="118">
                  <c:v>0</c:v>
                </c:pt>
                <c:pt idx="119">
                  <c:v>1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1</c:v>
                </c:pt>
                <c:pt idx="131">
                  <c:v>1</c:v>
                </c:pt>
                <c:pt idx="132">
                  <c:v>2</c:v>
                </c:pt>
                <c:pt idx="133">
                  <c:v>2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</c:v>
                </c:pt>
                <c:pt idx="141">
                  <c:v>0</c:v>
                </c:pt>
                <c:pt idx="142">
                  <c:v>0</c:v>
                </c:pt>
                <c:pt idx="143">
                  <c:v>1</c:v>
                </c:pt>
                <c:pt idx="144">
                  <c:v>0</c:v>
                </c:pt>
                <c:pt idx="145">
                  <c:v>0</c:v>
                </c:pt>
                <c:pt idx="146">
                  <c:v>1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1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1</c:v>
                </c:pt>
                <c:pt idx="195">
                  <c:v>1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1</c:v>
                </c:pt>
                <c:pt idx="211">
                  <c:v>0</c:v>
                </c:pt>
                <c:pt idx="212">
                  <c:v>1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</c:v>
                </c:pt>
                <c:pt idx="223">
                  <c:v>0</c:v>
                </c:pt>
                <c:pt idx="224">
                  <c:v>0</c:v>
                </c:pt>
                <c:pt idx="225">
                  <c:v>1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1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1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0</c:v>
                </c:pt>
                <c:pt idx="261">
                  <c:v>1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1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1</c:v>
                </c:pt>
                <c:pt idx="272">
                  <c:v>1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1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1</c:v>
                </c:pt>
                <c:pt idx="286">
                  <c:v>1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1</c:v>
                </c:pt>
                <c:pt idx="291">
                  <c:v>0</c:v>
                </c:pt>
                <c:pt idx="292">
                  <c:v>3</c:v>
                </c:pt>
                <c:pt idx="293">
                  <c:v>1</c:v>
                </c:pt>
                <c:pt idx="294">
                  <c:v>1</c:v>
                </c:pt>
                <c:pt idx="295">
                  <c:v>1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2</c:v>
                </c:pt>
                <c:pt idx="300">
                  <c:v>3</c:v>
                </c:pt>
                <c:pt idx="301">
                  <c:v>3</c:v>
                </c:pt>
                <c:pt idx="302">
                  <c:v>3</c:v>
                </c:pt>
                <c:pt idx="303">
                  <c:v>2</c:v>
                </c:pt>
                <c:pt idx="304">
                  <c:v>1</c:v>
                </c:pt>
                <c:pt idx="305">
                  <c:v>0</c:v>
                </c:pt>
                <c:pt idx="306">
                  <c:v>5</c:v>
                </c:pt>
                <c:pt idx="307">
                  <c:v>1</c:v>
                </c:pt>
                <c:pt idx="308">
                  <c:v>3</c:v>
                </c:pt>
                <c:pt idx="309">
                  <c:v>1</c:v>
                </c:pt>
                <c:pt idx="310">
                  <c:v>2</c:v>
                </c:pt>
                <c:pt idx="311">
                  <c:v>1</c:v>
                </c:pt>
                <c:pt idx="312">
                  <c:v>3</c:v>
                </c:pt>
                <c:pt idx="313">
                  <c:v>3</c:v>
                </c:pt>
                <c:pt idx="314">
                  <c:v>1</c:v>
                </c:pt>
                <c:pt idx="315">
                  <c:v>5</c:v>
                </c:pt>
                <c:pt idx="316">
                  <c:v>4</c:v>
                </c:pt>
                <c:pt idx="317">
                  <c:v>6</c:v>
                </c:pt>
                <c:pt idx="318">
                  <c:v>4</c:v>
                </c:pt>
                <c:pt idx="319">
                  <c:v>5</c:v>
                </c:pt>
                <c:pt idx="320">
                  <c:v>3</c:v>
                </c:pt>
                <c:pt idx="321">
                  <c:v>4</c:v>
                </c:pt>
                <c:pt idx="322">
                  <c:v>5</c:v>
                </c:pt>
                <c:pt idx="323">
                  <c:v>4</c:v>
                </c:pt>
                <c:pt idx="324">
                  <c:v>2</c:v>
                </c:pt>
                <c:pt idx="325">
                  <c:v>0</c:v>
                </c:pt>
                <c:pt idx="326">
                  <c:v>3</c:v>
                </c:pt>
                <c:pt idx="327">
                  <c:v>6</c:v>
                </c:pt>
                <c:pt idx="328">
                  <c:v>4</c:v>
                </c:pt>
                <c:pt idx="329">
                  <c:v>5</c:v>
                </c:pt>
                <c:pt idx="330">
                  <c:v>1</c:v>
                </c:pt>
                <c:pt idx="331">
                  <c:v>5</c:v>
                </c:pt>
                <c:pt idx="332">
                  <c:v>1</c:v>
                </c:pt>
                <c:pt idx="333">
                  <c:v>2</c:v>
                </c:pt>
                <c:pt idx="334">
                  <c:v>5</c:v>
                </c:pt>
                <c:pt idx="335">
                  <c:v>1</c:v>
                </c:pt>
                <c:pt idx="336">
                  <c:v>6</c:v>
                </c:pt>
                <c:pt idx="337">
                  <c:v>1</c:v>
                </c:pt>
                <c:pt idx="338">
                  <c:v>2</c:v>
                </c:pt>
                <c:pt idx="339">
                  <c:v>0</c:v>
                </c:pt>
                <c:pt idx="340">
                  <c:v>4</c:v>
                </c:pt>
                <c:pt idx="341">
                  <c:v>5</c:v>
                </c:pt>
                <c:pt idx="342">
                  <c:v>2</c:v>
                </c:pt>
                <c:pt idx="343">
                  <c:v>4</c:v>
                </c:pt>
                <c:pt idx="344">
                  <c:v>0</c:v>
                </c:pt>
                <c:pt idx="345">
                  <c:v>2</c:v>
                </c:pt>
                <c:pt idx="346">
                  <c:v>1</c:v>
                </c:pt>
                <c:pt idx="347">
                  <c:v>4</c:v>
                </c:pt>
                <c:pt idx="348">
                  <c:v>1</c:v>
                </c:pt>
                <c:pt idx="349">
                  <c:v>1</c:v>
                </c:pt>
                <c:pt idx="350">
                  <c:v>4</c:v>
                </c:pt>
                <c:pt idx="351">
                  <c:v>1</c:v>
                </c:pt>
                <c:pt idx="352">
                  <c:v>0</c:v>
                </c:pt>
                <c:pt idx="353">
                  <c:v>1</c:v>
                </c:pt>
                <c:pt idx="354">
                  <c:v>0</c:v>
                </c:pt>
                <c:pt idx="355">
                  <c:v>2</c:v>
                </c:pt>
                <c:pt idx="356">
                  <c:v>0</c:v>
                </c:pt>
                <c:pt idx="357">
                  <c:v>1</c:v>
                </c:pt>
                <c:pt idx="358">
                  <c:v>4</c:v>
                </c:pt>
                <c:pt idx="359">
                  <c:v>0</c:v>
                </c:pt>
                <c:pt idx="360">
                  <c:v>2</c:v>
                </c:pt>
                <c:pt idx="361">
                  <c:v>4</c:v>
                </c:pt>
                <c:pt idx="362">
                  <c:v>4</c:v>
                </c:pt>
                <c:pt idx="363">
                  <c:v>7</c:v>
                </c:pt>
                <c:pt idx="364">
                  <c:v>7</c:v>
                </c:pt>
                <c:pt idx="365">
                  <c:v>6</c:v>
                </c:pt>
                <c:pt idx="366">
                  <c:v>2</c:v>
                </c:pt>
                <c:pt idx="367">
                  <c:v>1</c:v>
                </c:pt>
                <c:pt idx="368">
                  <c:v>8</c:v>
                </c:pt>
                <c:pt idx="369">
                  <c:v>11</c:v>
                </c:pt>
                <c:pt idx="370">
                  <c:v>6</c:v>
                </c:pt>
                <c:pt idx="371">
                  <c:v>10</c:v>
                </c:pt>
                <c:pt idx="372">
                  <c:v>13</c:v>
                </c:pt>
                <c:pt idx="373">
                  <c:v>10</c:v>
                </c:pt>
                <c:pt idx="374">
                  <c:v>7</c:v>
                </c:pt>
                <c:pt idx="375">
                  <c:v>13</c:v>
                </c:pt>
                <c:pt idx="376">
                  <c:v>40</c:v>
                </c:pt>
                <c:pt idx="377">
                  <c:v>43</c:v>
                </c:pt>
                <c:pt idx="378">
                  <c:v>38</c:v>
                </c:pt>
                <c:pt idx="379">
                  <c:v>41</c:v>
                </c:pt>
                <c:pt idx="380">
                  <c:v>20</c:v>
                </c:pt>
                <c:pt idx="381">
                  <c:v>31</c:v>
                </c:pt>
                <c:pt idx="382">
                  <c:v>18</c:v>
                </c:pt>
                <c:pt idx="383">
                  <c:v>20</c:v>
                </c:pt>
                <c:pt idx="384">
                  <c:v>44</c:v>
                </c:pt>
                <c:pt idx="385">
                  <c:v>162</c:v>
                </c:pt>
                <c:pt idx="386">
                  <c:v>73</c:v>
                </c:pt>
                <c:pt idx="387">
                  <c:v>33</c:v>
                </c:pt>
                <c:pt idx="388">
                  <c:v>30</c:v>
                </c:pt>
                <c:pt idx="389">
                  <c:v>46</c:v>
                </c:pt>
                <c:pt idx="390">
                  <c:v>91</c:v>
                </c:pt>
                <c:pt idx="391">
                  <c:v>61</c:v>
                </c:pt>
                <c:pt idx="392">
                  <c:v>65</c:v>
                </c:pt>
                <c:pt idx="393">
                  <c:v>62</c:v>
                </c:pt>
                <c:pt idx="394">
                  <c:v>43</c:v>
                </c:pt>
                <c:pt idx="395">
                  <c:v>15</c:v>
                </c:pt>
                <c:pt idx="396">
                  <c:v>43</c:v>
                </c:pt>
                <c:pt idx="397">
                  <c:v>56</c:v>
                </c:pt>
                <c:pt idx="398">
                  <c:v>52</c:v>
                </c:pt>
                <c:pt idx="399">
                  <c:v>45</c:v>
                </c:pt>
                <c:pt idx="400">
                  <c:v>34</c:v>
                </c:pt>
                <c:pt idx="401">
                  <c:v>14</c:v>
                </c:pt>
                <c:pt idx="402">
                  <c:v>7</c:v>
                </c:pt>
                <c:pt idx="403">
                  <c:v>31</c:v>
                </c:pt>
                <c:pt idx="404">
                  <c:v>51</c:v>
                </c:pt>
                <c:pt idx="405">
                  <c:v>34</c:v>
                </c:pt>
                <c:pt idx="406">
                  <c:v>27</c:v>
                </c:pt>
                <c:pt idx="407">
                  <c:v>19</c:v>
                </c:pt>
                <c:pt idx="408">
                  <c:v>12</c:v>
                </c:pt>
                <c:pt idx="409">
                  <c:v>8</c:v>
                </c:pt>
                <c:pt idx="410">
                  <c:v>16</c:v>
                </c:pt>
                <c:pt idx="411">
                  <c:v>21</c:v>
                </c:pt>
                <c:pt idx="412">
                  <c:v>15</c:v>
                </c:pt>
                <c:pt idx="413">
                  <c:v>15</c:v>
                </c:pt>
                <c:pt idx="414">
                  <c:v>2</c:v>
                </c:pt>
                <c:pt idx="415">
                  <c:v>6</c:v>
                </c:pt>
                <c:pt idx="416">
                  <c:v>2</c:v>
                </c:pt>
                <c:pt idx="417">
                  <c:v>6</c:v>
                </c:pt>
                <c:pt idx="418">
                  <c:v>14</c:v>
                </c:pt>
                <c:pt idx="419">
                  <c:v>6</c:v>
                </c:pt>
                <c:pt idx="420">
                  <c:v>6</c:v>
                </c:pt>
                <c:pt idx="421">
                  <c:v>12</c:v>
                </c:pt>
                <c:pt idx="422">
                  <c:v>1</c:v>
                </c:pt>
                <c:pt idx="423">
                  <c:v>4</c:v>
                </c:pt>
                <c:pt idx="424">
                  <c:v>7</c:v>
                </c:pt>
                <c:pt idx="425">
                  <c:v>9</c:v>
                </c:pt>
                <c:pt idx="426">
                  <c:v>10</c:v>
                </c:pt>
                <c:pt idx="427">
                  <c:v>12</c:v>
                </c:pt>
                <c:pt idx="428">
                  <c:v>9</c:v>
                </c:pt>
                <c:pt idx="429">
                  <c:v>3</c:v>
                </c:pt>
                <c:pt idx="430">
                  <c:v>1</c:v>
                </c:pt>
                <c:pt idx="431">
                  <c:v>14</c:v>
                </c:pt>
                <c:pt idx="432">
                  <c:v>11</c:v>
                </c:pt>
                <c:pt idx="433">
                  <c:v>15</c:v>
                </c:pt>
                <c:pt idx="434">
                  <c:v>4</c:v>
                </c:pt>
                <c:pt idx="435">
                  <c:v>17</c:v>
                </c:pt>
                <c:pt idx="436">
                  <c:v>6</c:v>
                </c:pt>
                <c:pt idx="437">
                  <c:v>2</c:v>
                </c:pt>
                <c:pt idx="438">
                  <c:v>9</c:v>
                </c:pt>
                <c:pt idx="439">
                  <c:v>15</c:v>
                </c:pt>
                <c:pt idx="440">
                  <c:v>6</c:v>
                </c:pt>
                <c:pt idx="441">
                  <c:v>10</c:v>
                </c:pt>
                <c:pt idx="442">
                  <c:v>12</c:v>
                </c:pt>
                <c:pt idx="443">
                  <c:v>3</c:v>
                </c:pt>
                <c:pt idx="444">
                  <c:v>0</c:v>
                </c:pt>
                <c:pt idx="445">
                  <c:v>19</c:v>
                </c:pt>
                <c:pt idx="446">
                  <c:v>10</c:v>
                </c:pt>
                <c:pt idx="447">
                  <c:v>6</c:v>
                </c:pt>
                <c:pt idx="448">
                  <c:v>11</c:v>
                </c:pt>
                <c:pt idx="449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dateAx>
        <c:axId val="1335740047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Offset val="100"/>
        <c:baseTimeUnit val="days"/>
      </c:date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9206468945271149"/>
          <c:h val="0.81133498943526128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Reinfekce</c:v>
                </c:pt>
              </c:strCache>
            </c:strRef>
          </c:tx>
          <c:spPr>
            <a:ln w="28575" cap="rnd">
              <a:solidFill>
                <a:srgbClr val="FFFFFF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58</c:f>
              <c:numCache>
                <c:formatCode>m/d/yyyy</c:formatCode>
                <c:ptCount val="457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  <c:pt idx="102">
                  <c:v>44299</c:v>
                </c:pt>
                <c:pt idx="103">
                  <c:v>44300</c:v>
                </c:pt>
                <c:pt idx="104">
                  <c:v>44301</c:v>
                </c:pt>
                <c:pt idx="105">
                  <c:v>44302</c:v>
                </c:pt>
                <c:pt idx="106">
                  <c:v>44303</c:v>
                </c:pt>
                <c:pt idx="107">
                  <c:v>44304</c:v>
                </c:pt>
                <c:pt idx="108">
                  <c:v>44305</c:v>
                </c:pt>
                <c:pt idx="109">
                  <c:v>44306</c:v>
                </c:pt>
                <c:pt idx="110">
                  <c:v>44307</c:v>
                </c:pt>
                <c:pt idx="111">
                  <c:v>44308</c:v>
                </c:pt>
                <c:pt idx="112">
                  <c:v>44309</c:v>
                </c:pt>
                <c:pt idx="113">
                  <c:v>44310</c:v>
                </c:pt>
                <c:pt idx="114">
                  <c:v>44311</c:v>
                </c:pt>
                <c:pt idx="115">
                  <c:v>44312</c:v>
                </c:pt>
                <c:pt idx="116">
                  <c:v>44313</c:v>
                </c:pt>
                <c:pt idx="117">
                  <c:v>44314</c:v>
                </c:pt>
                <c:pt idx="118">
                  <c:v>44315</c:v>
                </c:pt>
                <c:pt idx="119">
                  <c:v>44316</c:v>
                </c:pt>
                <c:pt idx="120">
                  <c:v>44317</c:v>
                </c:pt>
                <c:pt idx="121">
                  <c:v>44318</c:v>
                </c:pt>
                <c:pt idx="122">
                  <c:v>44319</c:v>
                </c:pt>
                <c:pt idx="123">
                  <c:v>44320</c:v>
                </c:pt>
                <c:pt idx="124">
                  <c:v>44321</c:v>
                </c:pt>
                <c:pt idx="125">
                  <c:v>44322</c:v>
                </c:pt>
                <c:pt idx="126">
                  <c:v>44323</c:v>
                </c:pt>
                <c:pt idx="127">
                  <c:v>44324</c:v>
                </c:pt>
                <c:pt idx="128">
                  <c:v>44325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1</c:v>
                </c:pt>
                <c:pt idx="135">
                  <c:v>44332</c:v>
                </c:pt>
                <c:pt idx="136">
                  <c:v>44333</c:v>
                </c:pt>
                <c:pt idx="137">
                  <c:v>44334</c:v>
                </c:pt>
                <c:pt idx="138">
                  <c:v>44335</c:v>
                </c:pt>
                <c:pt idx="139">
                  <c:v>44336</c:v>
                </c:pt>
                <c:pt idx="140">
                  <c:v>44337</c:v>
                </c:pt>
                <c:pt idx="141">
                  <c:v>44338</c:v>
                </c:pt>
                <c:pt idx="142">
                  <c:v>44339</c:v>
                </c:pt>
                <c:pt idx="143">
                  <c:v>44340</c:v>
                </c:pt>
                <c:pt idx="144">
                  <c:v>44341</c:v>
                </c:pt>
                <c:pt idx="145">
                  <c:v>44342</c:v>
                </c:pt>
                <c:pt idx="146">
                  <c:v>44343</c:v>
                </c:pt>
                <c:pt idx="147">
                  <c:v>44344</c:v>
                </c:pt>
                <c:pt idx="148">
                  <c:v>44345</c:v>
                </c:pt>
                <c:pt idx="149">
                  <c:v>44347</c:v>
                </c:pt>
                <c:pt idx="150">
                  <c:v>44348</c:v>
                </c:pt>
                <c:pt idx="151">
                  <c:v>44349</c:v>
                </c:pt>
                <c:pt idx="152">
                  <c:v>44350</c:v>
                </c:pt>
                <c:pt idx="153">
                  <c:v>44351</c:v>
                </c:pt>
                <c:pt idx="154">
                  <c:v>44352</c:v>
                </c:pt>
                <c:pt idx="155">
                  <c:v>44354</c:v>
                </c:pt>
                <c:pt idx="156">
                  <c:v>44355</c:v>
                </c:pt>
                <c:pt idx="157">
                  <c:v>44356</c:v>
                </c:pt>
                <c:pt idx="158">
                  <c:v>44357</c:v>
                </c:pt>
                <c:pt idx="159">
                  <c:v>44358</c:v>
                </c:pt>
                <c:pt idx="160">
                  <c:v>44359</c:v>
                </c:pt>
                <c:pt idx="161">
                  <c:v>44361</c:v>
                </c:pt>
                <c:pt idx="162">
                  <c:v>44362</c:v>
                </c:pt>
                <c:pt idx="163">
                  <c:v>44364</c:v>
                </c:pt>
                <c:pt idx="164">
                  <c:v>44365</c:v>
                </c:pt>
                <c:pt idx="165">
                  <c:v>44366</c:v>
                </c:pt>
                <c:pt idx="166">
                  <c:v>44367</c:v>
                </c:pt>
                <c:pt idx="167">
                  <c:v>44368</c:v>
                </c:pt>
                <c:pt idx="168">
                  <c:v>44369</c:v>
                </c:pt>
                <c:pt idx="169">
                  <c:v>44371</c:v>
                </c:pt>
                <c:pt idx="170">
                  <c:v>44372</c:v>
                </c:pt>
                <c:pt idx="171">
                  <c:v>44374</c:v>
                </c:pt>
                <c:pt idx="172">
                  <c:v>44375</c:v>
                </c:pt>
                <c:pt idx="173">
                  <c:v>44376</c:v>
                </c:pt>
                <c:pt idx="174">
                  <c:v>44377</c:v>
                </c:pt>
                <c:pt idx="175">
                  <c:v>44378</c:v>
                </c:pt>
                <c:pt idx="176">
                  <c:v>44379</c:v>
                </c:pt>
                <c:pt idx="177">
                  <c:v>44380</c:v>
                </c:pt>
                <c:pt idx="178">
                  <c:v>44381</c:v>
                </c:pt>
                <c:pt idx="179">
                  <c:v>44382</c:v>
                </c:pt>
                <c:pt idx="180">
                  <c:v>44383</c:v>
                </c:pt>
                <c:pt idx="181">
                  <c:v>44384</c:v>
                </c:pt>
                <c:pt idx="182">
                  <c:v>44385</c:v>
                </c:pt>
                <c:pt idx="183">
                  <c:v>44386</c:v>
                </c:pt>
                <c:pt idx="184">
                  <c:v>44387</c:v>
                </c:pt>
                <c:pt idx="185">
                  <c:v>44388</c:v>
                </c:pt>
                <c:pt idx="186">
                  <c:v>44389</c:v>
                </c:pt>
                <c:pt idx="187">
                  <c:v>44390</c:v>
                </c:pt>
                <c:pt idx="188">
                  <c:v>44391</c:v>
                </c:pt>
                <c:pt idx="189">
                  <c:v>44392</c:v>
                </c:pt>
                <c:pt idx="190">
                  <c:v>44393</c:v>
                </c:pt>
                <c:pt idx="191">
                  <c:v>44394</c:v>
                </c:pt>
                <c:pt idx="192">
                  <c:v>44395</c:v>
                </c:pt>
                <c:pt idx="193">
                  <c:v>44396</c:v>
                </c:pt>
                <c:pt idx="194">
                  <c:v>44397</c:v>
                </c:pt>
                <c:pt idx="195">
                  <c:v>44398</c:v>
                </c:pt>
                <c:pt idx="196">
                  <c:v>44399</c:v>
                </c:pt>
                <c:pt idx="197">
                  <c:v>44400</c:v>
                </c:pt>
                <c:pt idx="198">
                  <c:v>44401</c:v>
                </c:pt>
                <c:pt idx="199">
                  <c:v>44402</c:v>
                </c:pt>
                <c:pt idx="200">
                  <c:v>44403</c:v>
                </c:pt>
                <c:pt idx="201">
                  <c:v>44404</c:v>
                </c:pt>
                <c:pt idx="202">
                  <c:v>44405</c:v>
                </c:pt>
                <c:pt idx="203">
                  <c:v>44406</c:v>
                </c:pt>
                <c:pt idx="204">
                  <c:v>44407</c:v>
                </c:pt>
                <c:pt idx="205">
                  <c:v>44408</c:v>
                </c:pt>
                <c:pt idx="206">
                  <c:v>44409</c:v>
                </c:pt>
                <c:pt idx="207">
                  <c:v>44410</c:v>
                </c:pt>
                <c:pt idx="208">
                  <c:v>44411</c:v>
                </c:pt>
                <c:pt idx="209">
                  <c:v>44412</c:v>
                </c:pt>
                <c:pt idx="210">
                  <c:v>44413</c:v>
                </c:pt>
                <c:pt idx="211">
                  <c:v>44414</c:v>
                </c:pt>
                <c:pt idx="212">
                  <c:v>44415</c:v>
                </c:pt>
                <c:pt idx="213">
                  <c:v>44416</c:v>
                </c:pt>
                <c:pt idx="214">
                  <c:v>44417</c:v>
                </c:pt>
                <c:pt idx="215">
                  <c:v>44418</c:v>
                </c:pt>
                <c:pt idx="216">
                  <c:v>44419</c:v>
                </c:pt>
                <c:pt idx="217">
                  <c:v>44420</c:v>
                </c:pt>
                <c:pt idx="218">
                  <c:v>44421</c:v>
                </c:pt>
                <c:pt idx="219">
                  <c:v>44422</c:v>
                </c:pt>
                <c:pt idx="220">
                  <c:v>44423</c:v>
                </c:pt>
                <c:pt idx="221">
                  <c:v>44424</c:v>
                </c:pt>
                <c:pt idx="222">
                  <c:v>44425</c:v>
                </c:pt>
                <c:pt idx="223">
                  <c:v>44426</c:v>
                </c:pt>
                <c:pt idx="224">
                  <c:v>44427</c:v>
                </c:pt>
                <c:pt idx="225">
                  <c:v>44428</c:v>
                </c:pt>
                <c:pt idx="226">
                  <c:v>44429</c:v>
                </c:pt>
                <c:pt idx="227">
                  <c:v>44430</c:v>
                </c:pt>
                <c:pt idx="228">
                  <c:v>44431</c:v>
                </c:pt>
                <c:pt idx="229">
                  <c:v>44432</c:v>
                </c:pt>
                <c:pt idx="230">
                  <c:v>44433</c:v>
                </c:pt>
                <c:pt idx="231">
                  <c:v>44434</c:v>
                </c:pt>
                <c:pt idx="232">
                  <c:v>44435</c:v>
                </c:pt>
                <c:pt idx="233">
                  <c:v>44436</c:v>
                </c:pt>
                <c:pt idx="234">
                  <c:v>44437</c:v>
                </c:pt>
                <c:pt idx="235">
                  <c:v>44438</c:v>
                </c:pt>
                <c:pt idx="236">
                  <c:v>44439</c:v>
                </c:pt>
                <c:pt idx="237">
                  <c:v>44440</c:v>
                </c:pt>
                <c:pt idx="238">
                  <c:v>44441</c:v>
                </c:pt>
                <c:pt idx="239">
                  <c:v>44442</c:v>
                </c:pt>
                <c:pt idx="240">
                  <c:v>44443</c:v>
                </c:pt>
                <c:pt idx="241">
                  <c:v>44444</c:v>
                </c:pt>
                <c:pt idx="242">
                  <c:v>44445</c:v>
                </c:pt>
                <c:pt idx="243">
                  <c:v>44446</c:v>
                </c:pt>
                <c:pt idx="244">
                  <c:v>44447</c:v>
                </c:pt>
                <c:pt idx="245">
                  <c:v>44448</c:v>
                </c:pt>
                <c:pt idx="246">
                  <c:v>44449</c:v>
                </c:pt>
                <c:pt idx="247">
                  <c:v>44450</c:v>
                </c:pt>
                <c:pt idx="248">
                  <c:v>44451</c:v>
                </c:pt>
                <c:pt idx="249">
                  <c:v>44452</c:v>
                </c:pt>
                <c:pt idx="250">
                  <c:v>44453</c:v>
                </c:pt>
                <c:pt idx="251">
                  <c:v>44454</c:v>
                </c:pt>
                <c:pt idx="252">
                  <c:v>44455</c:v>
                </c:pt>
                <c:pt idx="253">
                  <c:v>44456</c:v>
                </c:pt>
                <c:pt idx="254">
                  <c:v>44457</c:v>
                </c:pt>
                <c:pt idx="255">
                  <c:v>44458</c:v>
                </c:pt>
                <c:pt idx="256">
                  <c:v>44459</c:v>
                </c:pt>
                <c:pt idx="257">
                  <c:v>44460</c:v>
                </c:pt>
                <c:pt idx="258">
                  <c:v>44461</c:v>
                </c:pt>
                <c:pt idx="259">
                  <c:v>44462</c:v>
                </c:pt>
                <c:pt idx="260">
                  <c:v>44463</c:v>
                </c:pt>
                <c:pt idx="261">
                  <c:v>44464</c:v>
                </c:pt>
                <c:pt idx="262">
                  <c:v>44465</c:v>
                </c:pt>
                <c:pt idx="263">
                  <c:v>44466</c:v>
                </c:pt>
                <c:pt idx="264">
                  <c:v>44467</c:v>
                </c:pt>
                <c:pt idx="265">
                  <c:v>44468</c:v>
                </c:pt>
                <c:pt idx="266">
                  <c:v>44469</c:v>
                </c:pt>
                <c:pt idx="267">
                  <c:v>44470</c:v>
                </c:pt>
                <c:pt idx="268">
                  <c:v>44471</c:v>
                </c:pt>
                <c:pt idx="269">
                  <c:v>44472</c:v>
                </c:pt>
                <c:pt idx="270">
                  <c:v>44473</c:v>
                </c:pt>
                <c:pt idx="271">
                  <c:v>44474</c:v>
                </c:pt>
                <c:pt idx="272">
                  <c:v>44475</c:v>
                </c:pt>
                <c:pt idx="273">
                  <c:v>44476</c:v>
                </c:pt>
                <c:pt idx="274">
                  <c:v>44477</c:v>
                </c:pt>
                <c:pt idx="275">
                  <c:v>44478</c:v>
                </c:pt>
                <c:pt idx="276">
                  <c:v>44479</c:v>
                </c:pt>
                <c:pt idx="277">
                  <c:v>44480</c:v>
                </c:pt>
                <c:pt idx="278">
                  <c:v>44481</c:v>
                </c:pt>
                <c:pt idx="279">
                  <c:v>44482</c:v>
                </c:pt>
                <c:pt idx="280">
                  <c:v>44483</c:v>
                </c:pt>
                <c:pt idx="281">
                  <c:v>44484</c:v>
                </c:pt>
                <c:pt idx="282">
                  <c:v>44485</c:v>
                </c:pt>
                <c:pt idx="283">
                  <c:v>44486</c:v>
                </c:pt>
                <c:pt idx="284">
                  <c:v>44487</c:v>
                </c:pt>
                <c:pt idx="285">
                  <c:v>44488</c:v>
                </c:pt>
                <c:pt idx="286">
                  <c:v>44489</c:v>
                </c:pt>
                <c:pt idx="287">
                  <c:v>44490</c:v>
                </c:pt>
                <c:pt idx="288">
                  <c:v>44491</c:v>
                </c:pt>
                <c:pt idx="289">
                  <c:v>44492</c:v>
                </c:pt>
                <c:pt idx="290">
                  <c:v>44493</c:v>
                </c:pt>
                <c:pt idx="291">
                  <c:v>44494</c:v>
                </c:pt>
                <c:pt idx="292">
                  <c:v>44495</c:v>
                </c:pt>
                <c:pt idx="293">
                  <c:v>44496</c:v>
                </c:pt>
                <c:pt idx="294">
                  <c:v>44497</c:v>
                </c:pt>
                <c:pt idx="295">
                  <c:v>44498</c:v>
                </c:pt>
                <c:pt idx="296">
                  <c:v>44499</c:v>
                </c:pt>
                <c:pt idx="297">
                  <c:v>44500</c:v>
                </c:pt>
                <c:pt idx="298">
                  <c:v>44501</c:v>
                </c:pt>
                <c:pt idx="299">
                  <c:v>44502</c:v>
                </c:pt>
                <c:pt idx="300">
                  <c:v>44503</c:v>
                </c:pt>
                <c:pt idx="301">
                  <c:v>44504</c:v>
                </c:pt>
                <c:pt idx="302">
                  <c:v>44505</c:v>
                </c:pt>
                <c:pt idx="303">
                  <c:v>44506</c:v>
                </c:pt>
                <c:pt idx="304">
                  <c:v>44507</c:v>
                </c:pt>
                <c:pt idx="305">
                  <c:v>44508</c:v>
                </c:pt>
                <c:pt idx="306">
                  <c:v>44509</c:v>
                </c:pt>
                <c:pt idx="307">
                  <c:v>44510</c:v>
                </c:pt>
                <c:pt idx="308">
                  <c:v>44511</c:v>
                </c:pt>
                <c:pt idx="309">
                  <c:v>44512</c:v>
                </c:pt>
                <c:pt idx="310">
                  <c:v>44513</c:v>
                </c:pt>
                <c:pt idx="311">
                  <c:v>44514</c:v>
                </c:pt>
                <c:pt idx="312">
                  <c:v>44515</c:v>
                </c:pt>
                <c:pt idx="313">
                  <c:v>44516</c:v>
                </c:pt>
                <c:pt idx="314">
                  <c:v>44517</c:v>
                </c:pt>
                <c:pt idx="315">
                  <c:v>44518</c:v>
                </c:pt>
                <c:pt idx="316">
                  <c:v>44519</c:v>
                </c:pt>
                <c:pt idx="317">
                  <c:v>44520</c:v>
                </c:pt>
                <c:pt idx="318">
                  <c:v>44521</c:v>
                </c:pt>
                <c:pt idx="319">
                  <c:v>44522</c:v>
                </c:pt>
                <c:pt idx="320">
                  <c:v>44523</c:v>
                </c:pt>
                <c:pt idx="321">
                  <c:v>44524</c:v>
                </c:pt>
                <c:pt idx="322">
                  <c:v>44525</c:v>
                </c:pt>
                <c:pt idx="323">
                  <c:v>44526</c:v>
                </c:pt>
                <c:pt idx="324">
                  <c:v>44527</c:v>
                </c:pt>
                <c:pt idx="325">
                  <c:v>44528</c:v>
                </c:pt>
                <c:pt idx="326">
                  <c:v>44529</c:v>
                </c:pt>
                <c:pt idx="327">
                  <c:v>44530</c:v>
                </c:pt>
                <c:pt idx="328">
                  <c:v>44531</c:v>
                </c:pt>
                <c:pt idx="329">
                  <c:v>44532</c:v>
                </c:pt>
                <c:pt idx="330">
                  <c:v>44533</c:v>
                </c:pt>
                <c:pt idx="331">
                  <c:v>44534</c:v>
                </c:pt>
                <c:pt idx="332">
                  <c:v>44535</c:v>
                </c:pt>
                <c:pt idx="333">
                  <c:v>44536</c:v>
                </c:pt>
                <c:pt idx="334">
                  <c:v>44537</c:v>
                </c:pt>
                <c:pt idx="335">
                  <c:v>44538</c:v>
                </c:pt>
                <c:pt idx="336">
                  <c:v>44539</c:v>
                </c:pt>
                <c:pt idx="337">
                  <c:v>44540</c:v>
                </c:pt>
                <c:pt idx="338">
                  <c:v>44541</c:v>
                </c:pt>
                <c:pt idx="339">
                  <c:v>44542</c:v>
                </c:pt>
                <c:pt idx="340">
                  <c:v>44543</c:v>
                </c:pt>
                <c:pt idx="341">
                  <c:v>44544</c:v>
                </c:pt>
                <c:pt idx="342">
                  <c:v>44545</c:v>
                </c:pt>
                <c:pt idx="343">
                  <c:v>44546</c:v>
                </c:pt>
                <c:pt idx="344">
                  <c:v>44547</c:v>
                </c:pt>
                <c:pt idx="345">
                  <c:v>44548</c:v>
                </c:pt>
                <c:pt idx="346">
                  <c:v>44549</c:v>
                </c:pt>
                <c:pt idx="347">
                  <c:v>44550</c:v>
                </c:pt>
                <c:pt idx="348">
                  <c:v>44551</c:v>
                </c:pt>
                <c:pt idx="349">
                  <c:v>44552</c:v>
                </c:pt>
                <c:pt idx="350">
                  <c:v>44553</c:v>
                </c:pt>
                <c:pt idx="351">
                  <c:v>44554</c:v>
                </c:pt>
                <c:pt idx="352">
                  <c:v>44555</c:v>
                </c:pt>
                <c:pt idx="353">
                  <c:v>44556</c:v>
                </c:pt>
                <c:pt idx="354">
                  <c:v>44557</c:v>
                </c:pt>
                <c:pt idx="355">
                  <c:v>44558</c:v>
                </c:pt>
                <c:pt idx="356">
                  <c:v>44559</c:v>
                </c:pt>
                <c:pt idx="357">
                  <c:v>44560</c:v>
                </c:pt>
                <c:pt idx="358">
                  <c:v>44561</c:v>
                </c:pt>
                <c:pt idx="359">
                  <c:v>44562</c:v>
                </c:pt>
                <c:pt idx="360">
                  <c:v>44563</c:v>
                </c:pt>
                <c:pt idx="361">
                  <c:v>44564</c:v>
                </c:pt>
                <c:pt idx="362">
                  <c:v>44565</c:v>
                </c:pt>
                <c:pt idx="363">
                  <c:v>44566</c:v>
                </c:pt>
                <c:pt idx="364">
                  <c:v>44567</c:v>
                </c:pt>
                <c:pt idx="365">
                  <c:v>44568</c:v>
                </c:pt>
                <c:pt idx="366">
                  <c:v>44569</c:v>
                </c:pt>
                <c:pt idx="367">
                  <c:v>44570</c:v>
                </c:pt>
                <c:pt idx="368">
                  <c:v>44571</c:v>
                </c:pt>
                <c:pt idx="369">
                  <c:v>44572</c:v>
                </c:pt>
                <c:pt idx="370">
                  <c:v>44573</c:v>
                </c:pt>
                <c:pt idx="371">
                  <c:v>44574</c:v>
                </c:pt>
                <c:pt idx="372">
                  <c:v>44575</c:v>
                </c:pt>
                <c:pt idx="373">
                  <c:v>44576</c:v>
                </c:pt>
                <c:pt idx="374">
                  <c:v>44577</c:v>
                </c:pt>
                <c:pt idx="375">
                  <c:v>44578</c:v>
                </c:pt>
                <c:pt idx="376">
                  <c:v>44579</c:v>
                </c:pt>
                <c:pt idx="377">
                  <c:v>44580</c:v>
                </c:pt>
                <c:pt idx="378">
                  <c:v>44581</c:v>
                </c:pt>
                <c:pt idx="379">
                  <c:v>44582</c:v>
                </c:pt>
                <c:pt idx="380">
                  <c:v>44583</c:v>
                </c:pt>
                <c:pt idx="381">
                  <c:v>44584</c:v>
                </c:pt>
                <c:pt idx="382">
                  <c:v>44585</c:v>
                </c:pt>
                <c:pt idx="383">
                  <c:v>44586</c:v>
                </c:pt>
                <c:pt idx="384">
                  <c:v>44587</c:v>
                </c:pt>
                <c:pt idx="385">
                  <c:v>44588</c:v>
                </c:pt>
                <c:pt idx="386">
                  <c:v>44589</c:v>
                </c:pt>
                <c:pt idx="387">
                  <c:v>44590</c:v>
                </c:pt>
                <c:pt idx="388">
                  <c:v>44591</c:v>
                </c:pt>
                <c:pt idx="389">
                  <c:v>44592</c:v>
                </c:pt>
                <c:pt idx="390">
                  <c:v>44593</c:v>
                </c:pt>
                <c:pt idx="391">
                  <c:v>44594</c:v>
                </c:pt>
                <c:pt idx="392">
                  <c:v>44595</c:v>
                </c:pt>
                <c:pt idx="393">
                  <c:v>44596</c:v>
                </c:pt>
                <c:pt idx="394">
                  <c:v>44597</c:v>
                </c:pt>
                <c:pt idx="395">
                  <c:v>44598</c:v>
                </c:pt>
                <c:pt idx="396">
                  <c:v>44599</c:v>
                </c:pt>
                <c:pt idx="397">
                  <c:v>44600</c:v>
                </c:pt>
                <c:pt idx="398">
                  <c:v>44601</c:v>
                </c:pt>
                <c:pt idx="399">
                  <c:v>44602</c:v>
                </c:pt>
                <c:pt idx="400">
                  <c:v>44603</c:v>
                </c:pt>
                <c:pt idx="401">
                  <c:v>44604</c:v>
                </c:pt>
                <c:pt idx="402">
                  <c:v>44605</c:v>
                </c:pt>
                <c:pt idx="403">
                  <c:v>44606</c:v>
                </c:pt>
                <c:pt idx="404">
                  <c:v>44607</c:v>
                </c:pt>
                <c:pt idx="405">
                  <c:v>44608</c:v>
                </c:pt>
                <c:pt idx="406">
                  <c:v>44609</c:v>
                </c:pt>
                <c:pt idx="407">
                  <c:v>44610</c:v>
                </c:pt>
                <c:pt idx="408">
                  <c:v>44611</c:v>
                </c:pt>
                <c:pt idx="409">
                  <c:v>44612</c:v>
                </c:pt>
                <c:pt idx="410">
                  <c:v>44613</c:v>
                </c:pt>
                <c:pt idx="411">
                  <c:v>44614</c:v>
                </c:pt>
                <c:pt idx="412">
                  <c:v>44615</c:v>
                </c:pt>
                <c:pt idx="413">
                  <c:v>44616</c:v>
                </c:pt>
                <c:pt idx="414">
                  <c:v>44617</c:v>
                </c:pt>
                <c:pt idx="415">
                  <c:v>44618</c:v>
                </c:pt>
                <c:pt idx="416">
                  <c:v>44619</c:v>
                </c:pt>
                <c:pt idx="417">
                  <c:v>44620</c:v>
                </c:pt>
                <c:pt idx="418">
                  <c:v>44621</c:v>
                </c:pt>
                <c:pt idx="419">
                  <c:v>44622</c:v>
                </c:pt>
                <c:pt idx="420">
                  <c:v>44623</c:v>
                </c:pt>
                <c:pt idx="421">
                  <c:v>44624</c:v>
                </c:pt>
                <c:pt idx="422">
                  <c:v>44625</c:v>
                </c:pt>
                <c:pt idx="423">
                  <c:v>44626</c:v>
                </c:pt>
                <c:pt idx="424">
                  <c:v>44627</c:v>
                </c:pt>
                <c:pt idx="425">
                  <c:v>44628</c:v>
                </c:pt>
                <c:pt idx="426">
                  <c:v>44629</c:v>
                </c:pt>
                <c:pt idx="427">
                  <c:v>44630</c:v>
                </c:pt>
                <c:pt idx="428">
                  <c:v>44631</c:v>
                </c:pt>
                <c:pt idx="429">
                  <c:v>44632</c:v>
                </c:pt>
                <c:pt idx="430">
                  <c:v>44633</c:v>
                </c:pt>
                <c:pt idx="431">
                  <c:v>44634</c:v>
                </c:pt>
                <c:pt idx="432">
                  <c:v>44635</c:v>
                </c:pt>
                <c:pt idx="433">
                  <c:v>44636</c:v>
                </c:pt>
                <c:pt idx="434">
                  <c:v>44637</c:v>
                </c:pt>
                <c:pt idx="435">
                  <c:v>44638</c:v>
                </c:pt>
                <c:pt idx="436">
                  <c:v>44639</c:v>
                </c:pt>
                <c:pt idx="437">
                  <c:v>44640</c:v>
                </c:pt>
                <c:pt idx="438">
                  <c:v>44641</c:v>
                </c:pt>
                <c:pt idx="439">
                  <c:v>44642</c:v>
                </c:pt>
                <c:pt idx="440">
                  <c:v>44643</c:v>
                </c:pt>
                <c:pt idx="441">
                  <c:v>44644</c:v>
                </c:pt>
                <c:pt idx="442">
                  <c:v>44645</c:v>
                </c:pt>
                <c:pt idx="443">
                  <c:v>44646</c:v>
                </c:pt>
                <c:pt idx="444">
                  <c:v>44647</c:v>
                </c:pt>
                <c:pt idx="445">
                  <c:v>44648</c:v>
                </c:pt>
                <c:pt idx="446">
                  <c:v>44649</c:v>
                </c:pt>
                <c:pt idx="447">
                  <c:v>44650</c:v>
                </c:pt>
                <c:pt idx="448">
                  <c:v>44651</c:v>
                </c:pt>
                <c:pt idx="449">
                  <c:v>44652</c:v>
                </c:pt>
              </c:numCache>
            </c:numRef>
          </c:cat>
          <c:val>
            <c:numRef>
              <c:f>List1!$B$2:$B$458</c:f>
              <c:numCache>
                <c:formatCode>General</c:formatCode>
                <c:ptCount val="457"/>
                <c:pt idx="0">
                  <c:v>0</c:v>
                </c:pt>
                <c:pt idx="1">
                  <c:v>0</c:v>
                </c:pt>
                <c:pt idx="2">
                  <c:v>3.0303030303000002E-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.1764705881999999E-2</c:v>
                </c:pt>
                <c:pt idx="12">
                  <c:v>0</c:v>
                </c:pt>
                <c:pt idx="13">
                  <c:v>3.2258064516000003E-2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2658227847999999E-2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.1627906976E-2</c:v>
                </c:pt>
                <c:pt idx="22">
                  <c:v>0</c:v>
                </c:pt>
                <c:pt idx="23">
                  <c:v>0</c:v>
                </c:pt>
                <c:pt idx="24">
                  <c:v>1.7857142857000002E-2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1.3513513513E-2</c:v>
                </c:pt>
                <c:pt idx="32">
                  <c:v>0</c:v>
                </c:pt>
                <c:pt idx="33">
                  <c:v>0</c:v>
                </c:pt>
                <c:pt idx="34">
                  <c:v>1.2820512819999999E-2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8.6956521729999996E-3</c:v>
                </c:pt>
                <c:pt idx="40">
                  <c:v>8.6206896549999995E-3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6.172839506E-3</c:v>
                </c:pt>
                <c:pt idx="47">
                  <c:v>0</c:v>
                </c:pt>
                <c:pt idx="48">
                  <c:v>7.1428571420000002E-3</c:v>
                </c:pt>
                <c:pt idx="49">
                  <c:v>7.5187969919999998E-3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1.1049723756E-2</c:v>
                </c:pt>
                <c:pt idx="54">
                  <c:v>5.9523809519999998E-3</c:v>
                </c:pt>
                <c:pt idx="55">
                  <c:v>5.3191489359999998E-3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6.6225165559999997E-3</c:v>
                </c:pt>
                <c:pt idx="60">
                  <c:v>4.0000000000000001E-3</c:v>
                </c:pt>
                <c:pt idx="61">
                  <c:v>5.2083333329999999E-3</c:v>
                </c:pt>
                <c:pt idx="62">
                  <c:v>4.8309178739999997E-3</c:v>
                </c:pt>
                <c:pt idx="63">
                  <c:v>0</c:v>
                </c:pt>
                <c:pt idx="64">
                  <c:v>0</c:v>
                </c:pt>
                <c:pt idx="65">
                  <c:v>2.2222222222000002E-2</c:v>
                </c:pt>
                <c:pt idx="66">
                  <c:v>0</c:v>
                </c:pt>
                <c:pt idx="67">
                  <c:v>7.1428571420000002E-3</c:v>
                </c:pt>
                <c:pt idx="68">
                  <c:v>4.0485829950000001E-3</c:v>
                </c:pt>
                <c:pt idx="69">
                  <c:v>5.405405405E-3</c:v>
                </c:pt>
                <c:pt idx="70">
                  <c:v>1.1235955056E-2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8.5106382970000002E-3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8.1300812999999996E-3</c:v>
                </c:pt>
                <c:pt idx="81">
                  <c:v>1.5706806282E-2</c:v>
                </c:pt>
                <c:pt idx="82">
                  <c:v>6.4516129030000001E-3</c:v>
                </c:pt>
                <c:pt idx="83">
                  <c:v>0</c:v>
                </c:pt>
                <c:pt idx="84">
                  <c:v>6.2500000000000003E-3</c:v>
                </c:pt>
                <c:pt idx="85">
                  <c:v>0</c:v>
                </c:pt>
                <c:pt idx="86">
                  <c:v>0</c:v>
                </c:pt>
                <c:pt idx="87">
                  <c:v>9.8039215679999996E-3</c:v>
                </c:pt>
                <c:pt idx="88">
                  <c:v>0</c:v>
                </c:pt>
                <c:pt idx="89">
                  <c:v>7.5187969919999998E-3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1.0416666666E-2</c:v>
                </c:pt>
                <c:pt idx="103">
                  <c:v>0</c:v>
                </c:pt>
                <c:pt idx="104">
                  <c:v>0</c:v>
                </c:pt>
                <c:pt idx="105">
                  <c:v>1.8518518518000002E-2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3.2258064516000003E-2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1.5625E-2</c:v>
                </c:pt>
                <c:pt idx="117">
                  <c:v>0</c:v>
                </c:pt>
                <c:pt idx="118">
                  <c:v>0</c:v>
                </c:pt>
                <c:pt idx="119">
                  <c:v>3.3333333333000002E-2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.04</c:v>
                </c:pt>
                <c:pt idx="131">
                  <c:v>6.6666666666000005E-2</c:v>
                </c:pt>
                <c:pt idx="132">
                  <c:v>0.111111111111</c:v>
                </c:pt>
                <c:pt idx="133">
                  <c:v>0.14285714285699999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9.0909090908999998E-2</c:v>
                </c:pt>
                <c:pt idx="141">
                  <c:v>0</c:v>
                </c:pt>
                <c:pt idx="142">
                  <c:v>0</c:v>
                </c:pt>
                <c:pt idx="143">
                  <c:v>0.14285714285699999</c:v>
                </c:pt>
                <c:pt idx="144">
                  <c:v>0</c:v>
                </c:pt>
                <c:pt idx="145">
                  <c:v>0</c:v>
                </c:pt>
                <c:pt idx="146">
                  <c:v>0.125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.5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8.3333333332999998E-2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.166666666666</c:v>
                </c:pt>
                <c:pt idx="195">
                  <c:v>0.33333333333300003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.166666666666</c:v>
                </c:pt>
                <c:pt idx="211">
                  <c:v>0</c:v>
                </c:pt>
                <c:pt idx="212">
                  <c:v>0.166666666666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9.0909090908999998E-2</c:v>
                </c:pt>
                <c:pt idx="223">
                  <c:v>0</c:v>
                </c:pt>
                <c:pt idx="224">
                  <c:v>0</c:v>
                </c:pt>
                <c:pt idx="225">
                  <c:v>7.1428571428000007E-2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.166666666666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.125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.111111111111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.05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5.2631578946999998E-2</c:v>
                </c:pt>
                <c:pt idx="259">
                  <c:v>0</c:v>
                </c:pt>
                <c:pt idx="260">
                  <c:v>0</c:v>
                </c:pt>
                <c:pt idx="261">
                  <c:v>4.5454545454000003E-2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3.0303030303000002E-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2.6315789472999999E-2</c:v>
                </c:pt>
                <c:pt idx="272">
                  <c:v>2.8571428571E-2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2.5641025641000001E-2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1.2658227847999999E-2</c:v>
                </c:pt>
                <c:pt idx="286">
                  <c:v>1.3157894736E-2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3.2258064516000003E-2</c:v>
                </c:pt>
                <c:pt idx="291">
                  <c:v>0</c:v>
                </c:pt>
                <c:pt idx="292">
                  <c:v>2.7522935778999998E-2</c:v>
                </c:pt>
                <c:pt idx="293">
                  <c:v>9.8039215679999996E-3</c:v>
                </c:pt>
                <c:pt idx="294">
                  <c:v>1.1111111111000001E-2</c:v>
                </c:pt>
                <c:pt idx="295">
                  <c:v>1.1111111111000001E-2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9.8039215679999996E-3</c:v>
                </c:pt>
                <c:pt idx="300">
                  <c:v>0.02</c:v>
                </c:pt>
                <c:pt idx="301">
                  <c:v>2.7027027027000002E-2</c:v>
                </c:pt>
                <c:pt idx="302">
                  <c:v>2.7272727271999999E-2</c:v>
                </c:pt>
                <c:pt idx="303">
                  <c:v>2.6666666666E-2</c:v>
                </c:pt>
                <c:pt idx="304">
                  <c:v>3.2258064516000003E-2</c:v>
                </c:pt>
                <c:pt idx="305">
                  <c:v>0</c:v>
                </c:pt>
                <c:pt idx="306">
                  <c:v>2.5906735750999998E-2</c:v>
                </c:pt>
                <c:pt idx="307">
                  <c:v>6.7114093950000004E-3</c:v>
                </c:pt>
                <c:pt idx="308">
                  <c:v>3.0303030303000002E-2</c:v>
                </c:pt>
                <c:pt idx="309">
                  <c:v>5.9171597629999999E-3</c:v>
                </c:pt>
                <c:pt idx="310">
                  <c:v>1.6260162601000001E-2</c:v>
                </c:pt>
                <c:pt idx="311">
                  <c:v>1.4705882352E-2</c:v>
                </c:pt>
                <c:pt idx="312">
                  <c:v>2.1897810218E-2</c:v>
                </c:pt>
                <c:pt idx="313">
                  <c:v>1.1904761904E-2</c:v>
                </c:pt>
                <c:pt idx="314">
                  <c:v>6.8493150679999996E-3</c:v>
                </c:pt>
                <c:pt idx="315">
                  <c:v>3.2051282051000003E-2</c:v>
                </c:pt>
                <c:pt idx="316">
                  <c:v>1.6129032258000001E-2</c:v>
                </c:pt>
                <c:pt idx="317">
                  <c:v>3.8961038960999998E-2</c:v>
                </c:pt>
                <c:pt idx="318">
                  <c:v>4.3478260869000002E-2</c:v>
                </c:pt>
                <c:pt idx="319">
                  <c:v>3.0674846624999998E-2</c:v>
                </c:pt>
                <c:pt idx="320">
                  <c:v>9.9009900989999993E-3</c:v>
                </c:pt>
                <c:pt idx="321">
                  <c:v>2.0408163265000001E-2</c:v>
                </c:pt>
                <c:pt idx="322">
                  <c:v>1.4450867052000001E-2</c:v>
                </c:pt>
                <c:pt idx="323">
                  <c:v>1.8779342723000001E-2</c:v>
                </c:pt>
                <c:pt idx="324">
                  <c:v>1.1695906432000001E-2</c:v>
                </c:pt>
                <c:pt idx="325">
                  <c:v>0</c:v>
                </c:pt>
                <c:pt idx="326">
                  <c:v>1.6483516483000001E-2</c:v>
                </c:pt>
                <c:pt idx="327">
                  <c:v>1.8808777429000001E-2</c:v>
                </c:pt>
                <c:pt idx="328">
                  <c:v>1.6E-2</c:v>
                </c:pt>
                <c:pt idx="329">
                  <c:v>1.8450184501E-2</c:v>
                </c:pt>
                <c:pt idx="330">
                  <c:v>5.1546391749999997E-3</c:v>
                </c:pt>
                <c:pt idx="331">
                  <c:v>3.7037037037000002E-2</c:v>
                </c:pt>
                <c:pt idx="332">
                  <c:v>1.4925373134000001E-2</c:v>
                </c:pt>
                <c:pt idx="333">
                  <c:v>9.9009900989999993E-3</c:v>
                </c:pt>
                <c:pt idx="334">
                  <c:v>2.1645021645000002E-2</c:v>
                </c:pt>
                <c:pt idx="335">
                  <c:v>5.0251256280000002E-3</c:v>
                </c:pt>
                <c:pt idx="336">
                  <c:v>3.2786885245000001E-2</c:v>
                </c:pt>
                <c:pt idx="337">
                  <c:v>6.0975609750000001E-3</c:v>
                </c:pt>
                <c:pt idx="338">
                  <c:v>2.0202020202000001E-2</c:v>
                </c:pt>
                <c:pt idx="339">
                  <c:v>0</c:v>
                </c:pt>
                <c:pt idx="340">
                  <c:v>2.8571428571E-2</c:v>
                </c:pt>
                <c:pt idx="341">
                  <c:v>2.7322404371E-2</c:v>
                </c:pt>
                <c:pt idx="342">
                  <c:v>1.3422818790999999E-2</c:v>
                </c:pt>
                <c:pt idx="343">
                  <c:v>3.6036036036000002E-2</c:v>
                </c:pt>
                <c:pt idx="344">
                  <c:v>0</c:v>
                </c:pt>
                <c:pt idx="345">
                  <c:v>3.5714285714000003E-2</c:v>
                </c:pt>
                <c:pt idx="346">
                  <c:v>2.8571428571E-2</c:v>
                </c:pt>
                <c:pt idx="347">
                  <c:v>0.04</c:v>
                </c:pt>
                <c:pt idx="348">
                  <c:v>7.5187969919999998E-3</c:v>
                </c:pt>
                <c:pt idx="349">
                  <c:v>1.4705882352E-2</c:v>
                </c:pt>
                <c:pt idx="350">
                  <c:v>4.7619047619000002E-2</c:v>
                </c:pt>
                <c:pt idx="351">
                  <c:v>5.5555555554999997E-2</c:v>
                </c:pt>
                <c:pt idx="352">
                  <c:v>0</c:v>
                </c:pt>
                <c:pt idx="353">
                  <c:v>3.4482758619999998E-2</c:v>
                </c:pt>
                <c:pt idx="354">
                  <c:v>0</c:v>
                </c:pt>
                <c:pt idx="355">
                  <c:v>2.2727272727000002E-2</c:v>
                </c:pt>
                <c:pt idx="356">
                  <c:v>0</c:v>
                </c:pt>
                <c:pt idx="357">
                  <c:v>1.2820512819999999E-2</c:v>
                </c:pt>
                <c:pt idx="358">
                  <c:v>5.4794520547E-2</c:v>
                </c:pt>
                <c:pt idx="359">
                  <c:v>0</c:v>
                </c:pt>
                <c:pt idx="360">
                  <c:v>0.117647058823</c:v>
                </c:pt>
                <c:pt idx="361">
                  <c:v>3.5714285714000003E-2</c:v>
                </c:pt>
                <c:pt idx="362">
                  <c:v>4.1237113402000002E-2</c:v>
                </c:pt>
                <c:pt idx="363">
                  <c:v>7.1428571428000007E-2</c:v>
                </c:pt>
                <c:pt idx="364">
                  <c:v>8.0459770114000004E-2</c:v>
                </c:pt>
                <c:pt idx="365">
                  <c:v>5.6074766355E-2</c:v>
                </c:pt>
                <c:pt idx="366">
                  <c:v>3.8461538460999999E-2</c:v>
                </c:pt>
                <c:pt idx="367">
                  <c:v>2.7777777776999999E-2</c:v>
                </c:pt>
                <c:pt idx="368">
                  <c:v>8.5106382977999995E-2</c:v>
                </c:pt>
                <c:pt idx="369">
                  <c:v>7.3825503355000002E-2</c:v>
                </c:pt>
                <c:pt idx="370">
                  <c:v>3.2608695652000003E-2</c:v>
                </c:pt>
                <c:pt idx="371">
                  <c:v>6.3694267515E-2</c:v>
                </c:pt>
                <c:pt idx="372">
                  <c:v>6.9148936169999994E-2</c:v>
                </c:pt>
                <c:pt idx="373">
                  <c:v>6.2111801241999998E-2</c:v>
                </c:pt>
                <c:pt idx="374">
                  <c:v>6.25E-2</c:v>
                </c:pt>
                <c:pt idx="375">
                  <c:v>5.1383399209000001E-2</c:v>
                </c:pt>
                <c:pt idx="376">
                  <c:v>8.4388185653999997E-2</c:v>
                </c:pt>
                <c:pt idx="377">
                  <c:v>0.10141509433900001</c:v>
                </c:pt>
                <c:pt idx="378">
                  <c:v>9.3137254900999999E-2</c:v>
                </c:pt>
                <c:pt idx="379">
                  <c:v>9.8321342924999999E-2</c:v>
                </c:pt>
                <c:pt idx="380">
                  <c:v>8.4033613445000002E-2</c:v>
                </c:pt>
                <c:pt idx="381">
                  <c:v>0.168478260869</c:v>
                </c:pt>
                <c:pt idx="382">
                  <c:v>4.2959427207000002E-2</c:v>
                </c:pt>
                <c:pt idx="383">
                  <c:v>3.2679738562000002E-2</c:v>
                </c:pt>
                <c:pt idx="384">
                  <c:v>4.7567567567000001E-2</c:v>
                </c:pt>
                <c:pt idx="385">
                  <c:v>0.22594142259399999</c:v>
                </c:pt>
                <c:pt idx="386">
                  <c:v>8.9680589680000006E-2</c:v>
                </c:pt>
                <c:pt idx="387">
                  <c:v>0.10749185667699999</c:v>
                </c:pt>
                <c:pt idx="388">
                  <c:v>8.1521739130000007E-2</c:v>
                </c:pt>
                <c:pt idx="389">
                  <c:v>9.5435684647000002E-2</c:v>
                </c:pt>
                <c:pt idx="390">
                  <c:v>9.2951991828E-2</c:v>
                </c:pt>
                <c:pt idx="391">
                  <c:v>8.0581241743000007E-2</c:v>
                </c:pt>
                <c:pt idx="392">
                  <c:v>9.3256814921000006E-2</c:v>
                </c:pt>
                <c:pt idx="393">
                  <c:v>0.12156862744999999</c:v>
                </c:pt>
                <c:pt idx="394">
                  <c:v>9.3275488069000004E-2</c:v>
                </c:pt>
                <c:pt idx="395">
                  <c:v>0.102040816326</c:v>
                </c:pt>
                <c:pt idx="396">
                  <c:v>9.1295116772000001E-2</c:v>
                </c:pt>
                <c:pt idx="397">
                  <c:v>9.1803278688000006E-2</c:v>
                </c:pt>
                <c:pt idx="398">
                  <c:v>0.11529933481100001</c:v>
                </c:pt>
                <c:pt idx="399">
                  <c:v>0.125</c:v>
                </c:pt>
                <c:pt idx="400">
                  <c:v>9.1397849461999997E-2</c:v>
                </c:pt>
                <c:pt idx="401">
                  <c:v>8.2840236686000004E-2</c:v>
                </c:pt>
                <c:pt idx="402">
                  <c:v>6.1403508771000002E-2</c:v>
                </c:pt>
                <c:pt idx="403">
                  <c:v>0.126530612244</c:v>
                </c:pt>
                <c:pt idx="404">
                  <c:v>0.109442060085</c:v>
                </c:pt>
                <c:pt idx="405">
                  <c:v>0.108280254777</c:v>
                </c:pt>
                <c:pt idx="406">
                  <c:v>0.13366336633600001</c:v>
                </c:pt>
                <c:pt idx="407">
                  <c:v>8.7557603686000005E-2</c:v>
                </c:pt>
                <c:pt idx="408">
                  <c:v>8.4507042253E-2</c:v>
                </c:pt>
                <c:pt idx="409">
                  <c:v>0.119402985074</c:v>
                </c:pt>
                <c:pt idx="410">
                  <c:v>8.5106382977999995E-2</c:v>
                </c:pt>
                <c:pt idx="411">
                  <c:v>9.7222222221999999E-2</c:v>
                </c:pt>
                <c:pt idx="412">
                  <c:v>0.105633802816</c:v>
                </c:pt>
                <c:pt idx="413">
                  <c:v>0.125</c:v>
                </c:pt>
                <c:pt idx="414">
                  <c:v>2.4096385541999998E-2</c:v>
                </c:pt>
                <c:pt idx="415">
                  <c:v>8.9552238805000003E-2</c:v>
                </c:pt>
                <c:pt idx="416">
                  <c:v>5.5555555554999997E-2</c:v>
                </c:pt>
                <c:pt idx="417">
                  <c:v>5.3571428571000002E-2</c:v>
                </c:pt>
                <c:pt idx="418">
                  <c:v>0.105263157894</c:v>
                </c:pt>
                <c:pt idx="419">
                  <c:v>6.3157894736000003E-2</c:v>
                </c:pt>
                <c:pt idx="420">
                  <c:v>7.1428571428000007E-2</c:v>
                </c:pt>
                <c:pt idx="421">
                  <c:v>0.15789473684200001</c:v>
                </c:pt>
                <c:pt idx="422">
                  <c:v>0.02</c:v>
                </c:pt>
                <c:pt idx="423">
                  <c:v>0.12121212121200001</c:v>
                </c:pt>
                <c:pt idx="424">
                  <c:v>8.3333333332999998E-2</c:v>
                </c:pt>
                <c:pt idx="425">
                  <c:v>8.4112149531999997E-2</c:v>
                </c:pt>
                <c:pt idx="426">
                  <c:v>0.111111111111</c:v>
                </c:pt>
                <c:pt idx="427">
                  <c:v>0.125</c:v>
                </c:pt>
                <c:pt idx="428">
                  <c:v>0.107142857142</c:v>
                </c:pt>
                <c:pt idx="429">
                  <c:v>5.5555555554999997E-2</c:v>
                </c:pt>
                <c:pt idx="430">
                  <c:v>2.6315789472999999E-2</c:v>
                </c:pt>
                <c:pt idx="431">
                  <c:v>0.109375</c:v>
                </c:pt>
                <c:pt idx="432">
                  <c:v>0.1</c:v>
                </c:pt>
                <c:pt idx="433">
                  <c:v>0.145631067961</c:v>
                </c:pt>
                <c:pt idx="434">
                  <c:v>3.6036036036000002E-2</c:v>
                </c:pt>
                <c:pt idx="435">
                  <c:v>0.131782945736</c:v>
                </c:pt>
                <c:pt idx="436">
                  <c:v>0.11538461538399999</c:v>
                </c:pt>
                <c:pt idx="437">
                  <c:v>0.105263157894</c:v>
                </c:pt>
                <c:pt idx="438">
                  <c:v>7.0866141731999996E-2</c:v>
                </c:pt>
                <c:pt idx="439">
                  <c:v>9.9337748343999999E-2</c:v>
                </c:pt>
                <c:pt idx="440">
                  <c:v>5.8252427183999998E-2</c:v>
                </c:pt>
                <c:pt idx="441">
                  <c:v>0.102040816326</c:v>
                </c:pt>
                <c:pt idx="442">
                  <c:v>0.11538461538399999</c:v>
                </c:pt>
                <c:pt idx="443">
                  <c:v>7.8947368421000003E-2</c:v>
                </c:pt>
                <c:pt idx="444">
                  <c:v>0</c:v>
                </c:pt>
                <c:pt idx="445">
                  <c:v>0.197916666666</c:v>
                </c:pt>
                <c:pt idx="446">
                  <c:v>8.5470085469999998E-2</c:v>
                </c:pt>
                <c:pt idx="447">
                  <c:v>8.3333333332999998E-2</c:v>
                </c:pt>
                <c:pt idx="448">
                  <c:v>0.119565217391</c:v>
                </c:pt>
                <c:pt idx="449">
                  <c:v>9.85915492949999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019-4604-A4A6-0592403C34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dateAx>
        <c:axId val="1335740047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Offset val="100"/>
        <c:baseTimeUnit val="days"/>
      </c:dateAx>
      <c:valAx>
        <c:axId val="12491898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204140099406309E-2"/>
          <c:y val="7.6853844476408015E-2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173</c:f>
              <c:numCache>
                <c:formatCode>m/d/yyyy</c:formatCode>
                <c:ptCount val="173"/>
                <c:pt idx="0">
                  <c:v>44534</c:v>
                </c:pt>
                <c:pt idx="1">
                  <c:v>44535</c:v>
                </c:pt>
                <c:pt idx="2">
                  <c:v>44536</c:v>
                </c:pt>
                <c:pt idx="3">
                  <c:v>44537</c:v>
                </c:pt>
                <c:pt idx="4">
                  <c:v>44538</c:v>
                </c:pt>
                <c:pt idx="5">
                  <c:v>44539</c:v>
                </c:pt>
                <c:pt idx="6">
                  <c:v>44540</c:v>
                </c:pt>
                <c:pt idx="7">
                  <c:v>44541</c:v>
                </c:pt>
                <c:pt idx="8">
                  <c:v>44542</c:v>
                </c:pt>
                <c:pt idx="9">
                  <c:v>44543</c:v>
                </c:pt>
                <c:pt idx="10">
                  <c:v>44544</c:v>
                </c:pt>
                <c:pt idx="11">
                  <c:v>44545</c:v>
                </c:pt>
                <c:pt idx="12">
                  <c:v>44546</c:v>
                </c:pt>
                <c:pt idx="13">
                  <c:v>44547</c:v>
                </c:pt>
                <c:pt idx="14">
                  <c:v>44548</c:v>
                </c:pt>
                <c:pt idx="15">
                  <c:v>44549</c:v>
                </c:pt>
                <c:pt idx="16">
                  <c:v>44550</c:v>
                </c:pt>
                <c:pt idx="17">
                  <c:v>44551</c:v>
                </c:pt>
                <c:pt idx="18">
                  <c:v>44552</c:v>
                </c:pt>
                <c:pt idx="19">
                  <c:v>44553</c:v>
                </c:pt>
                <c:pt idx="20">
                  <c:v>44554</c:v>
                </c:pt>
                <c:pt idx="21">
                  <c:v>44555</c:v>
                </c:pt>
                <c:pt idx="22">
                  <c:v>44556</c:v>
                </c:pt>
                <c:pt idx="23">
                  <c:v>44557</c:v>
                </c:pt>
                <c:pt idx="24">
                  <c:v>44558</c:v>
                </c:pt>
                <c:pt idx="25">
                  <c:v>44559</c:v>
                </c:pt>
                <c:pt idx="26">
                  <c:v>44560</c:v>
                </c:pt>
                <c:pt idx="27">
                  <c:v>44561</c:v>
                </c:pt>
                <c:pt idx="28">
                  <c:v>44562</c:v>
                </c:pt>
                <c:pt idx="29">
                  <c:v>44563</c:v>
                </c:pt>
                <c:pt idx="30">
                  <c:v>44564</c:v>
                </c:pt>
                <c:pt idx="31">
                  <c:v>44565</c:v>
                </c:pt>
                <c:pt idx="32">
                  <c:v>44566</c:v>
                </c:pt>
                <c:pt idx="33">
                  <c:v>44567</c:v>
                </c:pt>
                <c:pt idx="34">
                  <c:v>44568</c:v>
                </c:pt>
                <c:pt idx="35">
                  <c:v>44569</c:v>
                </c:pt>
                <c:pt idx="36">
                  <c:v>44570</c:v>
                </c:pt>
                <c:pt idx="37">
                  <c:v>44571</c:v>
                </c:pt>
                <c:pt idx="38">
                  <c:v>44572</c:v>
                </c:pt>
                <c:pt idx="39">
                  <c:v>44573</c:v>
                </c:pt>
                <c:pt idx="40">
                  <c:v>44574</c:v>
                </c:pt>
                <c:pt idx="41">
                  <c:v>44575</c:v>
                </c:pt>
                <c:pt idx="42">
                  <c:v>44576</c:v>
                </c:pt>
                <c:pt idx="43">
                  <c:v>44577</c:v>
                </c:pt>
                <c:pt idx="44">
                  <c:v>44578</c:v>
                </c:pt>
                <c:pt idx="45">
                  <c:v>44579</c:v>
                </c:pt>
                <c:pt idx="46">
                  <c:v>44580</c:v>
                </c:pt>
                <c:pt idx="47">
                  <c:v>44581</c:v>
                </c:pt>
                <c:pt idx="48">
                  <c:v>44582</c:v>
                </c:pt>
                <c:pt idx="49">
                  <c:v>44583</c:v>
                </c:pt>
                <c:pt idx="50">
                  <c:v>44584</c:v>
                </c:pt>
                <c:pt idx="51">
                  <c:v>44585</c:v>
                </c:pt>
                <c:pt idx="52">
                  <c:v>44586</c:v>
                </c:pt>
                <c:pt idx="53">
                  <c:v>44587</c:v>
                </c:pt>
                <c:pt idx="54">
                  <c:v>44588</c:v>
                </c:pt>
                <c:pt idx="55">
                  <c:v>44589</c:v>
                </c:pt>
                <c:pt idx="56">
                  <c:v>44590</c:v>
                </c:pt>
                <c:pt idx="57">
                  <c:v>44591</c:v>
                </c:pt>
                <c:pt idx="58">
                  <c:v>44592</c:v>
                </c:pt>
                <c:pt idx="59">
                  <c:v>44593</c:v>
                </c:pt>
                <c:pt idx="60">
                  <c:v>44594</c:v>
                </c:pt>
                <c:pt idx="61">
                  <c:v>44595</c:v>
                </c:pt>
                <c:pt idx="62">
                  <c:v>44596</c:v>
                </c:pt>
                <c:pt idx="63">
                  <c:v>44597</c:v>
                </c:pt>
                <c:pt idx="64">
                  <c:v>44598</c:v>
                </c:pt>
                <c:pt idx="65">
                  <c:v>44599</c:v>
                </c:pt>
                <c:pt idx="66">
                  <c:v>44600</c:v>
                </c:pt>
                <c:pt idx="67">
                  <c:v>44601</c:v>
                </c:pt>
                <c:pt idx="68">
                  <c:v>44602</c:v>
                </c:pt>
                <c:pt idx="69">
                  <c:v>44603</c:v>
                </c:pt>
                <c:pt idx="70">
                  <c:v>44604</c:v>
                </c:pt>
                <c:pt idx="71">
                  <c:v>44605</c:v>
                </c:pt>
                <c:pt idx="72">
                  <c:v>44606</c:v>
                </c:pt>
                <c:pt idx="73">
                  <c:v>44607</c:v>
                </c:pt>
                <c:pt idx="74">
                  <c:v>44608</c:v>
                </c:pt>
                <c:pt idx="75">
                  <c:v>44609</c:v>
                </c:pt>
                <c:pt idx="76">
                  <c:v>44610</c:v>
                </c:pt>
                <c:pt idx="77">
                  <c:v>44611</c:v>
                </c:pt>
                <c:pt idx="78">
                  <c:v>44612</c:v>
                </c:pt>
                <c:pt idx="79">
                  <c:v>44613</c:v>
                </c:pt>
                <c:pt idx="80">
                  <c:v>44614</c:v>
                </c:pt>
                <c:pt idx="81">
                  <c:v>44615</c:v>
                </c:pt>
                <c:pt idx="82">
                  <c:v>44616</c:v>
                </c:pt>
                <c:pt idx="83">
                  <c:v>44617</c:v>
                </c:pt>
                <c:pt idx="84">
                  <c:v>44618</c:v>
                </c:pt>
                <c:pt idx="85">
                  <c:v>44619</c:v>
                </c:pt>
                <c:pt idx="86">
                  <c:v>44620</c:v>
                </c:pt>
                <c:pt idx="87">
                  <c:v>44621</c:v>
                </c:pt>
                <c:pt idx="88">
                  <c:v>44622</c:v>
                </c:pt>
                <c:pt idx="89">
                  <c:v>44623</c:v>
                </c:pt>
                <c:pt idx="90">
                  <c:v>44624</c:v>
                </c:pt>
                <c:pt idx="91">
                  <c:v>44625</c:v>
                </c:pt>
                <c:pt idx="92">
                  <c:v>44626</c:v>
                </c:pt>
                <c:pt idx="93">
                  <c:v>44627</c:v>
                </c:pt>
                <c:pt idx="94">
                  <c:v>44628</c:v>
                </c:pt>
                <c:pt idx="95">
                  <c:v>44629</c:v>
                </c:pt>
                <c:pt idx="96">
                  <c:v>44630</c:v>
                </c:pt>
                <c:pt idx="97">
                  <c:v>44631</c:v>
                </c:pt>
                <c:pt idx="98">
                  <c:v>44632</c:v>
                </c:pt>
                <c:pt idx="99">
                  <c:v>44633</c:v>
                </c:pt>
                <c:pt idx="100">
                  <c:v>44634</c:v>
                </c:pt>
                <c:pt idx="101">
                  <c:v>44635</c:v>
                </c:pt>
                <c:pt idx="102">
                  <c:v>44636</c:v>
                </c:pt>
                <c:pt idx="103">
                  <c:v>44637</c:v>
                </c:pt>
                <c:pt idx="104">
                  <c:v>44638</c:v>
                </c:pt>
                <c:pt idx="105">
                  <c:v>44639</c:v>
                </c:pt>
                <c:pt idx="106">
                  <c:v>44640</c:v>
                </c:pt>
                <c:pt idx="107">
                  <c:v>44641</c:v>
                </c:pt>
                <c:pt idx="108">
                  <c:v>44642</c:v>
                </c:pt>
                <c:pt idx="109">
                  <c:v>44643</c:v>
                </c:pt>
                <c:pt idx="110">
                  <c:v>44644</c:v>
                </c:pt>
                <c:pt idx="111">
                  <c:v>44645</c:v>
                </c:pt>
                <c:pt idx="112">
                  <c:v>44646</c:v>
                </c:pt>
                <c:pt idx="113">
                  <c:v>44647</c:v>
                </c:pt>
                <c:pt idx="114">
                  <c:v>44648</c:v>
                </c:pt>
                <c:pt idx="115">
                  <c:v>44649</c:v>
                </c:pt>
                <c:pt idx="116">
                  <c:v>44650</c:v>
                </c:pt>
                <c:pt idx="117">
                  <c:v>44651</c:v>
                </c:pt>
                <c:pt idx="118">
                  <c:v>44652</c:v>
                </c:pt>
              </c:numCache>
            </c:numRef>
          </c:cat>
          <c:val>
            <c:numRef>
              <c:f>Sheet1!$B$1:$B$173</c:f>
              <c:numCache>
                <c:formatCode>General</c:formatCode>
                <c:ptCount val="173"/>
                <c:pt idx="0">
                  <c:v>891</c:v>
                </c:pt>
                <c:pt idx="1">
                  <c:v>479</c:v>
                </c:pt>
                <c:pt idx="2">
                  <c:v>1295</c:v>
                </c:pt>
                <c:pt idx="3">
                  <c:v>1359</c:v>
                </c:pt>
                <c:pt idx="4">
                  <c:v>1052</c:v>
                </c:pt>
                <c:pt idx="5">
                  <c:v>1143</c:v>
                </c:pt>
                <c:pt idx="6">
                  <c:v>871</c:v>
                </c:pt>
                <c:pt idx="7">
                  <c:v>725</c:v>
                </c:pt>
                <c:pt idx="8">
                  <c:v>348</c:v>
                </c:pt>
                <c:pt idx="9">
                  <c:v>1194</c:v>
                </c:pt>
                <c:pt idx="10">
                  <c:v>1197</c:v>
                </c:pt>
                <c:pt idx="11">
                  <c:v>876</c:v>
                </c:pt>
                <c:pt idx="12">
                  <c:v>939</c:v>
                </c:pt>
                <c:pt idx="13">
                  <c:v>878</c:v>
                </c:pt>
                <c:pt idx="14">
                  <c:v>602</c:v>
                </c:pt>
                <c:pt idx="15">
                  <c:v>339</c:v>
                </c:pt>
                <c:pt idx="16">
                  <c:v>837</c:v>
                </c:pt>
                <c:pt idx="17">
                  <c:v>900</c:v>
                </c:pt>
                <c:pt idx="18">
                  <c:v>695</c:v>
                </c:pt>
                <c:pt idx="19">
                  <c:v>793</c:v>
                </c:pt>
                <c:pt idx="20">
                  <c:v>190</c:v>
                </c:pt>
                <c:pt idx="21">
                  <c:v>140</c:v>
                </c:pt>
                <c:pt idx="22">
                  <c:v>176</c:v>
                </c:pt>
                <c:pt idx="23">
                  <c:v>547</c:v>
                </c:pt>
                <c:pt idx="24">
                  <c:v>669</c:v>
                </c:pt>
                <c:pt idx="25">
                  <c:v>544</c:v>
                </c:pt>
                <c:pt idx="26">
                  <c:v>418</c:v>
                </c:pt>
                <c:pt idx="27">
                  <c:v>375</c:v>
                </c:pt>
                <c:pt idx="28">
                  <c:v>79</c:v>
                </c:pt>
                <c:pt idx="29">
                  <c:v>191</c:v>
                </c:pt>
                <c:pt idx="30">
                  <c:v>931</c:v>
                </c:pt>
                <c:pt idx="31">
                  <c:v>926</c:v>
                </c:pt>
                <c:pt idx="32">
                  <c:v>799</c:v>
                </c:pt>
                <c:pt idx="33">
                  <c:v>603</c:v>
                </c:pt>
                <c:pt idx="34">
                  <c:v>719</c:v>
                </c:pt>
                <c:pt idx="35">
                  <c:v>400</c:v>
                </c:pt>
                <c:pt idx="36">
                  <c:v>405</c:v>
                </c:pt>
                <c:pt idx="37">
                  <c:v>1145</c:v>
                </c:pt>
                <c:pt idx="38">
                  <c:v>1088</c:v>
                </c:pt>
                <c:pt idx="39">
                  <c:v>984</c:v>
                </c:pt>
                <c:pt idx="40">
                  <c:v>832</c:v>
                </c:pt>
                <c:pt idx="41">
                  <c:v>1032</c:v>
                </c:pt>
                <c:pt idx="42">
                  <c:v>846</c:v>
                </c:pt>
                <c:pt idx="43">
                  <c:v>659</c:v>
                </c:pt>
                <c:pt idx="44">
                  <c:v>1411</c:v>
                </c:pt>
                <c:pt idx="45">
                  <c:v>1719</c:v>
                </c:pt>
                <c:pt idx="46">
                  <c:v>1224</c:v>
                </c:pt>
                <c:pt idx="47">
                  <c:v>1106</c:v>
                </c:pt>
                <c:pt idx="48">
                  <c:v>1311</c:v>
                </c:pt>
                <c:pt idx="49">
                  <c:v>915</c:v>
                </c:pt>
                <c:pt idx="50">
                  <c:v>669</c:v>
                </c:pt>
                <c:pt idx="51">
                  <c:v>1634</c:v>
                </c:pt>
                <c:pt idx="52">
                  <c:v>1974</c:v>
                </c:pt>
                <c:pt idx="53">
                  <c:v>1723</c:v>
                </c:pt>
                <c:pt idx="54">
                  <c:v>1556</c:v>
                </c:pt>
                <c:pt idx="55">
                  <c:v>1777</c:v>
                </c:pt>
                <c:pt idx="56">
                  <c:v>1177</c:v>
                </c:pt>
                <c:pt idx="57">
                  <c:v>841</c:v>
                </c:pt>
                <c:pt idx="58">
                  <c:v>1540</c:v>
                </c:pt>
                <c:pt idx="59">
                  <c:v>2153</c:v>
                </c:pt>
                <c:pt idx="60">
                  <c:v>1738</c:v>
                </c:pt>
                <c:pt idx="61">
                  <c:v>1702</c:v>
                </c:pt>
                <c:pt idx="62">
                  <c:v>1512</c:v>
                </c:pt>
                <c:pt idx="63">
                  <c:v>877</c:v>
                </c:pt>
                <c:pt idx="64">
                  <c:v>592</c:v>
                </c:pt>
                <c:pt idx="65">
                  <c:v>1479</c:v>
                </c:pt>
                <c:pt idx="66">
                  <c:v>1527</c:v>
                </c:pt>
                <c:pt idx="67">
                  <c:v>1071</c:v>
                </c:pt>
                <c:pt idx="68">
                  <c:v>1070</c:v>
                </c:pt>
                <c:pt idx="69">
                  <c:v>996</c:v>
                </c:pt>
                <c:pt idx="70">
                  <c:v>552</c:v>
                </c:pt>
                <c:pt idx="71">
                  <c:v>458</c:v>
                </c:pt>
                <c:pt idx="72">
                  <c:v>1001</c:v>
                </c:pt>
                <c:pt idx="73">
                  <c:v>1173</c:v>
                </c:pt>
                <c:pt idx="74">
                  <c:v>856</c:v>
                </c:pt>
                <c:pt idx="75">
                  <c:v>746</c:v>
                </c:pt>
                <c:pt idx="76">
                  <c:v>647</c:v>
                </c:pt>
                <c:pt idx="77">
                  <c:v>409</c:v>
                </c:pt>
                <c:pt idx="78">
                  <c:v>342</c:v>
                </c:pt>
                <c:pt idx="79">
                  <c:v>634</c:v>
                </c:pt>
                <c:pt idx="80">
                  <c:v>682</c:v>
                </c:pt>
                <c:pt idx="81">
                  <c:v>449</c:v>
                </c:pt>
                <c:pt idx="82">
                  <c:v>427</c:v>
                </c:pt>
                <c:pt idx="83">
                  <c:v>302</c:v>
                </c:pt>
                <c:pt idx="84">
                  <c:v>234</c:v>
                </c:pt>
                <c:pt idx="85">
                  <c:v>125</c:v>
                </c:pt>
                <c:pt idx="86">
                  <c:v>387</c:v>
                </c:pt>
                <c:pt idx="87">
                  <c:v>390</c:v>
                </c:pt>
                <c:pt idx="88">
                  <c:v>308</c:v>
                </c:pt>
                <c:pt idx="89">
                  <c:v>300</c:v>
                </c:pt>
                <c:pt idx="90">
                  <c:v>283</c:v>
                </c:pt>
                <c:pt idx="91">
                  <c:v>220</c:v>
                </c:pt>
                <c:pt idx="92">
                  <c:v>139</c:v>
                </c:pt>
                <c:pt idx="93">
                  <c:v>349</c:v>
                </c:pt>
                <c:pt idx="94">
                  <c:v>377</c:v>
                </c:pt>
                <c:pt idx="95">
                  <c:v>290</c:v>
                </c:pt>
                <c:pt idx="96">
                  <c:v>329</c:v>
                </c:pt>
                <c:pt idx="97">
                  <c:v>324</c:v>
                </c:pt>
                <c:pt idx="98">
                  <c:v>172</c:v>
                </c:pt>
                <c:pt idx="99">
                  <c:v>123</c:v>
                </c:pt>
                <c:pt idx="100">
                  <c:v>399</c:v>
                </c:pt>
                <c:pt idx="101">
                  <c:v>378</c:v>
                </c:pt>
                <c:pt idx="102">
                  <c:v>310</c:v>
                </c:pt>
                <c:pt idx="103">
                  <c:v>341</c:v>
                </c:pt>
                <c:pt idx="104">
                  <c:v>345</c:v>
                </c:pt>
                <c:pt idx="105">
                  <c:v>174</c:v>
                </c:pt>
                <c:pt idx="106">
                  <c:v>101</c:v>
                </c:pt>
                <c:pt idx="107">
                  <c:v>377</c:v>
                </c:pt>
                <c:pt idx="108">
                  <c:v>396</c:v>
                </c:pt>
                <c:pt idx="109">
                  <c:v>412</c:v>
                </c:pt>
                <c:pt idx="110">
                  <c:v>322</c:v>
                </c:pt>
                <c:pt idx="111">
                  <c:v>293</c:v>
                </c:pt>
                <c:pt idx="112">
                  <c:v>192</c:v>
                </c:pt>
                <c:pt idx="113">
                  <c:v>129</c:v>
                </c:pt>
                <c:pt idx="114">
                  <c:v>325</c:v>
                </c:pt>
                <c:pt idx="115">
                  <c:v>384</c:v>
                </c:pt>
                <c:pt idx="116">
                  <c:v>388</c:v>
                </c:pt>
                <c:pt idx="117">
                  <c:v>378</c:v>
                </c:pt>
                <c:pt idx="118">
                  <c:v>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437F-AF06-6849CD78A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173</c:f>
              <c:numCache>
                <c:formatCode>m/d/yyyy</c:formatCode>
                <c:ptCount val="173"/>
                <c:pt idx="0">
                  <c:v>44534</c:v>
                </c:pt>
                <c:pt idx="1">
                  <c:v>44535</c:v>
                </c:pt>
                <c:pt idx="2">
                  <c:v>44536</c:v>
                </c:pt>
                <c:pt idx="3">
                  <c:v>44537</c:v>
                </c:pt>
                <c:pt idx="4">
                  <c:v>44538</c:v>
                </c:pt>
                <c:pt idx="5">
                  <c:v>44539</c:v>
                </c:pt>
                <c:pt idx="6">
                  <c:v>44540</c:v>
                </c:pt>
                <c:pt idx="7">
                  <c:v>44541</c:v>
                </c:pt>
                <c:pt idx="8">
                  <c:v>44542</c:v>
                </c:pt>
                <c:pt idx="9">
                  <c:v>44543</c:v>
                </c:pt>
                <c:pt idx="10">
                  <c:v>44544</c:v>
                </c:pt>
                <c:pt idx="11">
                  <c:v>44545</c:v>
                </c:pt>
                <c:pt idx="12">
                  <c:v>44546</c:v>
                </c:pt>
                <c:pt idx="13">
                  <c:v>44547</c:v>
                </c:pt>
                <c:pt idx="14">
                  <c:v>44548</c:v>
                </c:pt>
                <c:pt idx="15">
                  <c:v>44549</c:v>
                </c:pt>
                <c:pt idx="16">
                  <c:v>44550</c:v>
                </c:pt>
                <c:pt idx="17">
                  <c:v>44551</c:v>
                </c:pt>
                <c:pt idx="18">
                  <c:v>44552</c:v>
                </c:pt>
                <c:pt idx="19">
                  <c:v>44553</c:v>
                </c:pt>
                <c:pt idx="20">
                  <c:v>44554</c:v>
                </c:pt>
                <c:pt idx="21">
                  <c:v>44555</c:v>
                </c:pt>
                <c:pt idx="22">
                  <c:v>44556</c:v>
                </c:pt>
                <c:pt idx="23">
                  <c:v>44557</c:v>
                </c:pt>
                <c:pt idx="24">
                  <c:v>44558</c:v>
                </c:pt>
                <c:pt idx="25">
                  <c:v>44559</c:v>
                </c:pt>
                <c:pt idx="26">
                  <c:v>44560</c:v>
                </c:pt>
                <c:pt idx="27">
                  <c:v>44561</c:v>
                </c:pt>
                <c:pt idx="28">
                  <c:v>44562</c:v>
                </c:pt>
                <c:pt idx="29">
                  <c:v>44563</c:v>
                </c:pt>
                <c:pt idx="30">
                  <c:v>44564</c:v>
                </c:pt>
                <c:pt idx="31">
                  <c:v>44565</c:v>
                </c:pt>
                <c:pt idx="32">
                  <c:v>44566</c:v>
                </c:pt>
                <c:pt idx="33">
                  <c:v>44567</c:v>
                </c:pt>
                <c:pt idx="34">
                  <c:v>44568</c:v>
                </c:pt>
                <c:pt idx="35">
                  <c:v>44569</c:v>
                </c:pt>
                <c:pt idx="36">
                  <c:v>44570</c:v>
                </c:pt>
                <c:pt idx="37">
                  <c:v>44571</c:v>
                </c:pt>
                <c:pt idx="38">
                  <c:v>44572</c:v>
                </c:pt>
                <c:pt idx="39">
                  <c:v>44573</c:v>
                </c:pt>
                <c:pt idx="40">
                  <c:v>44574</c:v>
                </c:pt>
                <c:pt idx="41">
                  <c:v>44575</c:v>
                </c:pt>
                <c:pt idx="42">
                  <c:v>44576</c:v>
                </c:pt>
                <c:pt idx="43">
                  <c:v>44577</c:v>
                </c:pt>
                <c:pt idx="44">
                  <c:v>44578</c:v>
                </c:pt>
                <c:pt idx="45">
                  <c:v>44579</c:v>
                </c:pt>
                <c:pt idx="46">
                  <c:v>44580</c:v>
                </c:pt>
                <c:pt idx="47">
                  <c:v>44581</c:v>
                </c:pt>
                <c:pt idx="48">
                  <c:v>44582</c:v>
                </c:pt>
                <c:pt idx="49">
                  <c:v>44583</c:v>
                </c:pt>
                <c:pt idx="50">
                  <c:v>44584</c:v>
                </c:pt>
                <c:pt idx="51">
                  <c:v>44585</c:v>
                </c:pt>
                <c:pt idx="52">
                  <c:v>44586</c:v>
                </c:pt>
                <c:pt idx="53">
                  <c:v>44587</c:v>
                </c:pt>
                <c:pt idx="54">
                  <c:v>44588</c:v>
                </c:pt>
                <c:pt idx="55">
                  <c:v>44589</c:v>
                </c:pt>
                <c:pt idx="56">
                  <c:v>44590</c:v>
                </c:pt>
                <c:pt idx="57">
                  <c:v>44591</c:v>
                </c:pt>
                <c:pt idx="58">
                  <c:v>44592</c:v>
                </c:pt>
                <c:pt idx="59">
                  <c:v>44593</c:v>
                </c:pt>
                <c:pt idx="60">
                  <c:v>44594</c:v>
                </c:pt>
                <c:pt idx="61">
                  <c:v>44595</c:v>
                </c:pt>
                <c:pt idx="62">
                  <c:v>44596</c:v>
                </c:pt>
                <c:pt idx="63">
                  <c:v>44597</c:v>
                </c:pt>
                <c:pt idx="64">
                  <c:v>44598</c:v>
                </c:pt>
                <c:pt idx="65">
                  <c:v>44599</c:v>
                </c:pt>
                <c:pt idx="66">
                  <c:v>44600</c:v>
                </c:pt>
                <c:pt idx="67">
                  <c:v>44601</c:v>
                </c:pt>
                <c:pt idx="68">
                  <c:v>44602</c:v>
                </c:pt>
                <c:pt idx="69">
                  <c:v>44603</c:v>
                </c:pt>
                <c:pt idx="70">
                  <c:v>44604</c:v>
                </c:pt>
                <c:pt idx="71">
                  <c:v>44605</c:v>
                </c:pt>
                <c:pt idx="72">
                  <c:v>44606</c:v>
                </c:pt>
                <c:pt idx="73">
                  <c:v>44607</c:v>
                </c:pt>
                <c:pt idx="74">
                  <c:v>44608</c:v>
                </c:pt>
                <c:pt idx="75">
                  <c:v>44609</c:v>
                </c:pt>
                <c:pt idx="76">
                  <c:v>44610</c:v>
                </c:pt>
                <c:pt idx="77">
                  <c:v>44611</c:v>
                </c:pt>
                <c:pt idx="78">
                  <c:v>44612</c:v>
                </c:pt>
                <c:pt idx="79">
                  <c:v>44613</c:v>
                </c:pt>
                <c:pt idx="80">
                  <c:v>44614</c:v>
                </c:pt>
                <c:pt idx="81">
                  <c:v>44615</c:v>
                </c:pt>
                <c:pt idx="82">
                  <c:v>44616</c:v>
                </c:pt>
                <c:pt idx="83">
                  <c:v>44617</c:v>
                </c:pt>
                <c:pt idx="84">
                  <c:v>44618</c:v>
                </c:pt>
                <c:pt idx="85">
                  <c:v>44619</c:v>
                </c:pt>
                <c:pt idx="86">
                  <c:v>44620</c:v>
                </c:pt>
                <c:pt idx="87">
                  <c:v>44621</c:v>
                </c:pt>
                <c:pt idx="88">
                  <c:v>44622</c:v>
                </c:pt>
                <c:pt idx="89">
                  <c:v>44623</c:v>
                </c:pt>
                <c:pt idx="90">
                  <c:v>44624</c:v>
                </c:pt>
                <c:pt idx="91">
                  <c:v>44625</c:v>
                </c:pt>
                <c:pt idx="92">
                  <c:v>44626</c:v>
                </c:pt>
                <c:pt idx="93">
                  <c:v>44627</c:v>
                </c:pt>
                <c:pt idx="94">
                  <c:v>44628</c:v>
                </c:pt>
                <c:pt idx="95">
                  <c:v>44629</c:v>
                </c:pt>
                <c:pt idx="96">
                  <c:v>44630</c:v>
                </c:pt>
                <c:pt idx="97">
                  <c:v>44631</c:v>
                </c:pt>
                <c:pt idx="98">
                  <c:v>44632</c:v>
                </c:pt>
                <c:pt idx="99">
                  <c:v>44633</c:v>
                </c:pt>
                <c:pt idx="100">
                  <c:v>44634</c:v>
                </c:pt>
                <c:pt idx="101">
                  <c:v>44635</c:v>
                </c:pt>
                <c:pt idx="102">
                  <c:v>44636</c:v>
                </c:pt>
                <c:pt idx="103">
                  <c:v>44637</c:v>
                </c:pt>
                <c:pt idx="104">
                  <c:v>44638</c:v>
                </c:pt>
                <c:pt idx="105">
                  <c:v>44639</c:v>
                </c:pt>
                <c:pt idx="106">
                  <c:v>44640</c:v>
                </c:pt>
                <c:pt idx="107">
                  <c:v>44641</c:v>
                </c:pt>
                <c:pt idx="108">
                  <c:v>44642</c:v>
                </c:pt>
                <c:pt idx="109">
                  <c:v>44643</c:v>
                </c:pt>
                <c:pt idx="110">
                  <c:v>44644</c:v>
                </c:pt>
                <c:pt idx="111">
                  <c:v>44645</c:v>
                </c:pt>
                <c:pt idx="112">
                  <c:v>44646</c:v>
                </c:pt>
                <c:pt idx="113">
                  <c:v>44647</c:v>
                </c:pt>
                <c:pt idx="114">
                  <c:v>44648</c:v>
                </c:pt>
                <c:pt idx="115">
                  <c:v>44649</c:v>
                </c:pt>
                <c:pt idx="116">
                  <c:v>44650</c:v>
                </c:pt>
                <c:pt idx="117">
                  <c:v>44651</c:v>
                </c:pt>
                <c:pt idx="118">
                  <c:v>44652</c:v>
                </c:pt>
              </c:numCache>
            </c:numRef>
          </c:cat>
          <c:val>
            <c:numRef>
              <c:f>Sheet1!$B$1:$B$173</c:f>
              <c:numCache>
                <c:formatCode>General</c:formatCode>
                <c:ptCount val="173"/>
                <c:pt idx="0">
                  <c:v>156</c:v>
                </c:pt>
                <c:pt idx="1">
                  <c:v>227</c:v>
                </c:pt>
                <c:pt idx="2">
                  <c:v>663</c:v>
                </c:pt>
                <c:pt idx="3">
                  <c:v>423</c:v>
                </c:pt>
                <c:pt idx="4">
                  <c:v>417</c:v>
                </c:pt>
                <c:pt idx="5">
                  <c:v>1359</c:v>
                </c:pt>
                <c:pt idx="6">
                  <c:v>750</c:v>
                </c:pt>
                <c:pt idx="7">
                  <c:v>106</c:v>
                </c:pt>
                <c:pt idx="8">
                  <c:v>193</c:v>
                </c:pt>
                <c:pt idx="9">
                  <c:v>576</c:v>
                </c:pt>
                <c:pt idx="10">
                  <c:v>439</c:v>
                </c:pt>
                <c:pt idx="11">
                  <c:v>378</c:v>
                </c:pt>
                <c:pt idx="12">
                  <c:v>1424</c:v>
                </c:pt>
                <c:pt idx="13">
                  <c:v>1056</c:v>
                </c:pt>
                <c:pt idx="14">
                  <c:v>267</c:v>
                </c:pt>
                <c:pt idx="15">
                  <c:v>265</c:v>
                </c:pt>
                <c:pt idx="16">
                  <c:v>557</c:v>
                </c:pt>
                <c:pt idx="17">
                  <c:v>543</c:v>
                </c:pt>
                <c:pt idx="18">
                  <c:v>538</c:v>
                </c:pt>
                <c:pt idx="19">
                  <c:v>727</c:v>
                </c:pt>
                <c:pt idx="20">
                  <c:v>93</c:v>
                </c:pt>
                <c:pt idx="21">
                  <c:v>52</c:v>
                </c:pt>
                <c:pt idx="22">
                  <c:v>127</c:v>
                </c:pt>
                <c:pt idx="23">
                  <c:v>314</c:v>
                </c:pt>
                <c:pt idx="24">
                  <c:v>557</c:v>
                </c:pt>
                <c:pt idx="25">
                  <c:v>520</c:v>
                </c:pt>
                <c:pt idx="26">
                  <c:v>678</c:v>
                </c:pt>
                <c:pt idx="27">
                  <c:v>82</c:v>
                </c:pt>
                <c:pt idx="28">
                  <c:v>31</c:v>
                </c:pt>
                <c:pt idx="29">
                  <c:v>123</c:v>
                </c:pt>
                <c:pt idx="30">
                  <c:v>526</c:v>
                </c:pt>
                <c:pt idx="31">
                  <c:v>370</c:v>
                </c:pt>
                <c:pt idx="32">
                  <c:v>282</c:v>
                </c:pt>
                <c:pt idx="33">
                  <c:v>802</c:v>
                </c:pt>
                <c:pt idx="34">
                  <c:v>234</c:v>
                </c:pt>
                <c:pt idx="35">
                  <c:v>154</c:v>
                </c:pt>
                <c:pt idx="36">
                  <c:v>118</c:v>
                </c:pt>
                <c:pt idx="37">
                  <c:v>512</c:v>
                </c:pt>
                <c:pt idx="38">
                  <c:v>336</c:v>
                </c:pt>
                <c:pt idx="39">
                  <c:v>280</c:v>
                </c:pt>
                <c:pt idx="40">
                  <c:v>994</c:v>
                </c:pt>
                <c:pt idx="41">
                  <c:v>598</c:v>
                </c:pt>
                <c:pt idx="42">
                  <c:v>73</c:v>
                </c:pt>
                <c:pt idx="43">
                  <c:v>166</c:v>
                </c:pt>
                <c:pt idx="44">
                  <c:v>1204</c:v>
                </c:pt>
                <c:pt idx="45">
                  <c:v>676</c:v>
                </c:pt>
                <c:pt idx="46">
                  <c:v>300</c:v>
                </c:pt>
                <c:pt idx="47">
                  <c:v>1051</c:v>
                </c:pt>
                <c:pt idx="48">
                  <c:v>1058</c:v>
                </c:pt>
                <c:pt idx="49">
                  <c:v>163</c:v>
                </c:pt>
                <c:pt idx="50">
                  <c:v>154</c:v>
                </c:pt>
                <c:pt idx="51">
                  <c:v>1271</c:v>
                </c:pt>
                <c:pt idx="52">
                  <c:v>626</c:v>
                </c:pt>
                <c:pt idx="53">
                  <c:v>315</c:v>
                </c:pt>
                <c:pt idx="54">
                  <c:v>1175</c:v>
                </c:pt>
                <c:pt idx="55">
                  <c:v>895</c:v>
                </c:pt>
                <c:pt idx="56">
                  <c:v>100</c:v>
                </c:pt>
                <c:pt idx="57">
                  <c:v>180</c:v>
                </c:pt>
                <c:pt idx="58">
                  <c:v>1235</c:v>
                </c:pt>
                <c:pt idx="59">
                  <c:v>610</c:v>
                </c:pt>
                <c:pt idx="60">
                  <c:v>380</c:v>
                </c:pt>
                <c:pt idx="61">
                  <c:v>1195</c:v>
                </c:pt>
                <c:pt idx="62">
                  <c:v>776</c:v>
                </c:pt>
                <c:pt idx="63">
                  <c:v>116</c:v>
                </c:pt>
                <c:pt idx="64">
                  <c:v>166</c:v>
                </c:pt>
                <c:pt idx="65">
                  <c:v>1042</c:v>
                </c:pt>
                <c:pt idx="66">
                  <c:v>543</c:v>
                </c:pt>
                <c:pt idx="67">
                  <c:v>249</c:v>
                </c:pt>
                <c:pt idx="68">
                  <c:v>1046</c:v>
                </c:pt>
                <c:pt idx="69">
                  <c:v>770</c:v>
                </c:pt>
                <c:pt idx="70">
                  <c:v>85</c:v>
                </c:pt>
                <c:pt idx="71">
                  <c:v>133</c:v>
                </c:pt>
                <c:pt idx="72">
                  <c:v>996</c:v>
                </c:pt>
                <c:pt idx="73">
                  <c:v>555</c:v>
                </c:pt>
                <c:pt idx="74">
                  <c:v>254</c:v>
                </c:pt>
                <c:pt idx="75">
                  <c:v>990</c:v>
                </c:pt>
                <c:pt idx="76">
                  <c:v>716</c:v>
                </c:pt>
                <c:pt idx="77">
                  <c:v>77</c:v>
                </c:pt>
                <c:pt idx="78">
                  <c:v>158</c:v>
                </c:pt>
                <c:pt idx="79">
                  <c:v>207</c:v>
                </c:pt>
                <c:pt idx="80">
                  <c:v>230</c:v>
                </c:pt>
                <c:pt idx="81">
                  <c:v>129</c:v>
                </c:pt>
                <c:pt idx="82">
                  <c:v>400</c:v>
                </c:pt>
                <c:pt idx="83">
                  <c:v>354</c:v>
                </c:pt>
                <c:pt idx="84">
                  <c:v>36</c:v>
                </c:pt>
                <c:pt idx="85">
                  <c:v>62</c:v>
                </c:pt>
                <c:pt idx="86">
                  <c:v>185</c:v>
                </c:pt>
                <c:pt idx="87">
                  <c:v>210</c:v>
                </c:pt>
                <c:pt idx="88">
                  <c:v>168</c:v>
                </c:pt>
                <c:pt idx="89">
                  <c:v>361</c:v>
                </c:pt>
                <c:pt idx="90">
                  <c:v>462</c:v>
                </c:pt>
                <c:pt idx="91">
                  <c:v>93</c:v>
                </c:pt>
                <c:pt idx="92">
                  <c:v>120</c:v>
                </c:pt>
                <c:pt idx="93">
                  <c:v>197</c:v>
                </c:pt>
                <c:pt idx="94">
                  <c:v>197</c:v>
                </c:pt>
                <c:pt idx="95">
                  <c:v>187</c:v>
                </c:pt>
                <c:pt idx="96">
                  <c:v>378</c:v>
                </c:pt>
                <c:pt idx="97">
                  <c:v>487</c:v>
                </c:pt>
                <c:pt idx="98">
                  <c:v>101</c:v>
                </c:pt>
                <c:pt idx="99">
                  <c:v>138</c:v>
                </c:pt>
                <c:pt idx="100">
                  <c:v>201</c:v>
                </c:pt>
                <c:pt idx="101">
                  <c:v>184</c:v>
                </c:pt>
                <c:pt idx="102">
                  <c:v>134</c:v>
                </c:pt>
                <c:pt idx="103">
                  <c:v>372</c:v>
                </c:pt>
                <c:pt idx="104">
                  <c:v>398</c:v>
                </c:pt>
                <c:pt idx="105">
                  <c:v>88</c:v>
                </c:pt>
                <c:pt idx="106">
                  <c:v>95</c:v>
                </c:pt>
                <c:pt idx="107">
                  <c:v>163</c:v>
                </c:pt>
                <c:pt idx="108">
                  <c:v>125</c:v>
                </c:pt>
                <c:pt idx="109">
                  <c:v>113</c:v>
                </c:pt>
                <c:pt idx="110">
                  <c:v>183</c:v>
                </c:pt>
                <c:pt idx="111">
                  <c:v>296</c:v>
                </c:pt>
                <c:pt idx="112">
                  <c:v>65</c:v>
                </c:pt>
                <c:pt idx="113">
                  <c:v>59</c:v>
                </c:pt>
                <c:pt idx="114">
                  <c:v>127</c:v>
                </c:pt>
                <c:pt idx="115">
                  <c:v>107</c:v>
                </c:pt>
                <c:pt idx="116">
                  <c:v>98</c:v>
                </c:pt>
                <c:pt idx="117">
                  <c:v>154</c:v>
                </c:pt>
                <c:pt idx="118">
                  <c:v>4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437F-AF06-6849CD78A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1:$A$539</c:f>
              <c:numCache>
                <c:formatCode>m/d/yyyy</c:formatCode>
                <c:ptCount val="539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  <c:pt idx="102">
                  <c:v>44299</c:v>
                </c:pt>
                <c:pt idx="103">
                  <c:v>44300</c:v>
                </c:pt>
                <c:pt idx="104">
                  <c:v>44301</c:v>
                </c:pt>
                <c:pt idx="105">
                  <c:v>44302</c:v>
                </c:pt>
                <c:pt idx="106">
                  <c:v>44303</c:v>
                </c:pt>
                <c:pt idx="107">
                  <c:v>44304</c:v>
                </c:pt>
                <c:pt idx="108">
                  <c:v>44305</c:v>
                </c:pt>
                <c:pt idx="109">
                  <c:v>44306</c:v>
                </c:pt>
                <c:pt idx="110">
                  <c:v>44307</c:v>
                </c:pt>
                <c:pt idx="111">
                  <c:v>44308</c:v>
                </c:pt>
                <c:pt idx="112">
                  <c:v>44309</c:v>
                </c:pt>
                <c:pt idx="113">
                  <c:v>44310</c:v>
                </c:pt>
                <c:pt idx="114">
                  <c:v>44311</c:v>
                </c:pt>
                <c:pt idx="115">
                  <c:v>44312</c:v>
                </c:pt>
                <c:pt idx="116">
                  <c:v>44313</c:v>
                </c:pt>
                <c:pt idx="117">
                  <c:v>44314</c:v>
                </c:pt>
                <c:pt idx="118">
                  <c:v>44315</c:v>
                </c:pt>
                <c:pt idx="119">
                  <c:v>44316</c:v>
                </c:pt>
                <c:pt idx="120">
                  <c:v>44317</c:v>
                </c:pt>
                <c:pt idx="121">
                  <c:v>44318</c:v>
                </c:pt>
                <c:pt idx="122">
                  <c:v>44319</c:v>
                </c:pt>
                <c:pt idx="123">
                  <c:v>44320</c:v>
                </c:pt>
                <c:pt idx="124">
                  <c:v>44321</c:v>
                </c:pt>
                <c:pt idx="125">
                  <c:v>44322</c:v>
                </c:pt>
                <c:pt idx="126">
                  <c:v>44323</c:v>
                </c:pt>
                <c:pt idx="127">
                  <c:v>44324</c:v>
                </c:pt>
                <c:pt idx="128">
                  <c:v>44325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1</c:v>
                </c:pt>
                <c:pt idx="135">
                  <c:v>44332</c:v>
                </c:pt>
                <c:pt idx="136">
                  <c:v>44333</c:v>
                </c:pt>
                <c:pt idx="137">
                  <c:v>44334</c:v>
                </c:pt>
                <c:pt idx="138">
                  <c:v>44335</c:v>
                </c:pt>
                <c:pt idx="139">
                  <c:v>44336</c:v>
                </c:pt>
                <c:pt idx="140">
                  <c:v>44337</c:v>
                </c:pt>
                <c:pt idx="141">
                  <c:v>44338</c:v>
                </c:pt>
                <c:pt idx="142">
                  <c:v>44339</c:v>
                </c:pt>
                <c:pt idx="143">
                  <c:v>44340</c:v>
                </c:pt>
                <c:pt idx="144">
                  <c:v>44341</c:v>
                </c:pt>
                <c:pt idx="145">
                  <c:v>44342</c:v>
                </c:pt>
                <c:pt idx="146">
                  <c:v>44343</c:v>
                </c:pt>
                <c:pt idx="147">
                  <c:v>44344</c:v>
                </c:pt>
                <c:pt idx="148">
                  <c:v>44345</c:v>
                </c:pt>
                <c:pt idx="149">
                  <c:v>44346</c:v>
                </c:pt>
                <c:pt idx="150">
                  <c:v>44347</c:v>
                </c:pt>
                <c:pt idx="151">
                  <c:v>44348</c:v>
                </c:pt>
                <c:pt idx="152">
                  <c:v>44349</c:v>
                </c:pt>
                <c:pt idx="153">
                  <c:v>44350</c:v>
                </c:pt>
                <c:pt idx="154">
                  <c:v>44351</c:v>
                </c:pt>
                <c:pt idx="155">
                  <c:v>44352</c:v>
                </c:pt>
                <c:pt idx="156">
                  <c:v>44353</c:v>
                </c:pt>
                <c:pt idx="157">
                  <c:v>44354</c:v>
                </c:pt>
                <c:pt idx="158">
                  <c:v>44355</c:v>
                </c:pt>
                <c:pt idx="159">
                  <c:v>44356</c:v>
                </c:pt>
                <c:pt idx="160">
                  <c:v>44357</c:v>
                </c:pt>
                <c:pt idx="161">
                  <c:v>44358</c:v>
                </c:pt>
                <c:pt idx="162">
                  <c:v>44359</c:v>
                </c:pt>
                <c:pt idx="163">
                  <c:v>44360</c:v>
                </c:pt>
                <c:pt idx="164">
                  <c:v>44361</c:v>
                </c:pt>
                <c:pt idx="165">
                  <c:v>44362</c:v>
                </c:pt>
                <c:pt idx="166">
                  <c:v>44363</c:v>
                </c:pt>
                <c:pt idx="167">
                  <c:v>44364</c:v>
                </c:pt>
                <c:pt idx="168">
                  <c:v>44365</c:v>
                </c:pt>
                <c:pt idx="169">
                  <c:v>44366</c:v>
                </c:pt>
                <c:pt idx="170">
                  <c:v>44367</c:v>
                </c:pt>
                <c:pt idx="171">
                  <c:v>44368</c:v>
                </c:pt>
                <c:pt idx="172">
                  <c:v>44369</c:v>
                </c:pt>
                <c:pt idx="173">
                  <c:v>44370</c:v>
                </c:pt>
                <c:pt idx="174">
                  <c:v>44371</c:v>
                </c:pt>
                <c:pt idx="175">
                  <c:v>44372</c:v>
                </c:pt>
                <c:pt idx="176">
                  <c:v>44373</c:v>
                </c:pt>
                <c:pt idx="177">
                  <c:v>44374</c:v>
                </c:pt>
                <c:pt idx="178">
                  <c:v>44375</c:v>
                </c:pt>
                <c:pt idx="179">
                  <c:v>44376</c:v>
                </c:pt>
                <c:pt idx="180">
                  <c:v>44377</c:v>
                </c:pt>
                <c:pt idx="181">
                  <c:v>44378</c:v>
                </c:pt>
                <c:pt idx="182">
                  <c:v>44379</c:v>
                </c:pt>
                <c:pt idx="183">
                  <c:v>44380</c:v>
                </c:pt>
                <c:pt idx="184">
                  <c:v>44381</c:v>
                </c:pt>
                <c:pt idx="185">
                  <c:v>44382</c:v>
                </c:pt>
                <c:pt idx="186">
                  <c:v>44383</c:v>
                </c:pt>
                <c:pt idx="187">
                  <c:v>44384</c:v>
                </c:pt>
                <c:pt idx="188">
                  <c:v>44385</c:v>
                </c:pt>
                <c:pt idx="189">
                  <c:v>44386</c:v>
                </c:pt>
                <c:pt idx="190">
                  <c:v>44387</c:v>
                </c:pt>
                <c:pt idx="191">
                  <c:v>44388</c:v>
                </c:pt>
                <c:pt idx="192">
                  <c:v>44389</c:v>
                </c:pt>
                <c:pt idx="193">
                  <c:v>44390</c:v>
                </c:pt>
                <c:pt idx="194">
                  <c:v>44391</c:v>
                </c:pt>
                <c:pt idx="195">
                  <c:v>44392</c:v>
                </c:pt>
                <c:pt idx="196">
                  <c:v>44393</c:v>
                </c:pt>
                <c:pt idx="197">
                  <c:v>44394</c:v>
                </c:pt>
                <c:pt idx="198">
                  <c:v>44395</c:v>
                </c:pt>
                <c:pt idx="199">
                  <c:v>44396</c:v>
                </c:pt>
                <c:pt idx="200">
                  <c:v>44397</c:v>
                </c:pt>
                <c:pt idx="201">
                  <c:v>44398</c:v>
                </c:pt>
                <c:pt idx="202">
                  <c:v>44399</c:v>
                </c:pt>
                <c:pt idx="203">
                  <c:v>44400</c:v>
                </c:pt>
                <c:pt idx="204">
                  <c:v>44401</c:v>
                </c:pt>
                <c:pt idx="205">
                  <c:v>44402</c:v>
                </c:pt>
                <c:pt idx="206">
                  <c:v>44403</c:v>
                </c:pt>
                <c:pt idx="207">
                  <c:v>44404</c:v>
                </c:pt>
                <c:pt idx="208">
                  <c:v>44405</c:v>
                </c:pt>
                <c:pt idx="209">
                  <c:v>44406</c:v>
                </c:pt>
                <c:pt idx="210">
                  <c:v>44407</c:v>
                </c:pt>
                <c:pt idx="211">
                  <c:v>44408</c:v>
                </c:pt>
                <c:pt idx="212">
                  <c:v>44409</c:v>
                </c:pt>
                <c:pt idx="213">
                  <c:v>44410</c:v>
                </c:pt>
                <c:pt idx="214">
                  <c:v>44411</c:v>
                </c:pt>
                <c:pt idx="215">
                  <c:v>44412</c:v>
                </c:pt>
                <c:pt idx="216">
                  <c:v>44413</c:v>
                </c:pt>
                <c:pt idx="217">
                  <c:v>44414</c:v>
                </c:pt>
                <c:pt idx="218">
                  <c:v>44415</c:v>
                </c:pt>
                <c:pt idx="219">
                  <c:v>44416</c:v>
                </c:pt>
                <c:pt idx="220">
                  <c:v>44417</c:v>
                </c:pt>
                <c:pt idx="221">
                  <c:v>44418</c:v>
                </c:pt>
                <c:pt idx="222">
                  <c:v>44419</c:v>
                </c:pt>
                <c:pt idx="223">
                  <c:v>44420</c:v>
                </c:pt>
                <c:pt idx="224">
                  <c:v>44421</c:v>
                </c:pt>
                <c:pt idx="225">
                  <c:v>44422</c:v>
                </c:pt>
                <c:pt idx="226">
                  <c:v>44423</c:v>
                </c:pt>
                <c:pt idx="227">
                  <c:v>44424</c:v>
                </c:pt>
                <c:pt idx="228">
                  <c:v>44425</c:v>
                </c:pt>
                <c:pt idx="229">
                  <c:v>44426</c:v>
                </c:pt>
                <c:pt idx="230">
                  <c:v>44427</c:v>
                </c:pt>
                <c:pt idx="231">
                  <c:v>44428</c:v>
                </c:pt>
                <c:pt idx="232">
                  <c:v>44429</c:v>
                </c:pt>
                <c:pt idx="233">
                  <c:v>44430</c:v>
                </c:pt>
                <c:pt idx="234">
                  <c:v>44431</c:v>
                </c:pt>
                <c:pt idx="235">
                  <c:v>44432</c:v>
                </c:pt>
                <c:pt idx="236">
                  <c:v>44433</c:v>
                </c:pt>
                <c:pt idx="237">
                  <c:v>44434</c:v>
                </c:pt>
                <c:pt idx="238">
                  <c:v>44435</c:v>
                </c:pt>
                <c:pt idx="239">
                  <c:v>44436</c:v>
                </c:pt>
                <c:pt idx="240">
                  <c:v>44437</c:v>
                </c:pt>
                <c:pt idx="241">
                  <c:v>44438</c:v>
                </c:pt>
                <c:pt idx="242">
                  <c:v>44439</c:v>
                </c:pt>
                <c:pt idx="243">
                  <c:v>44440</c:v>
                </c:pt>
                <c:pt idx="244">
                  <c:v>44441</c:v>
                </c:pt>
                <c:pt idx="245">
                  <c:v>44442</c:v>
                </c:pt>
                <c:pt idx="246">
                  <c:v>44443</c:v>
                </c:pt>
                <c:pt idx="247">
                  <c:v>44444</c:v>
                </c:pt>
                <c:pt idx="248">
                  <c:v>44445</c:v>
                </c:pt>
                <c:pt idx="249">
                  <c:v>44446</c:v>
                </c:pt>
                <c:pt idx="250">
                  <c:v>44447</c:v>
                </c:pt>
                <c:pt idx="251">
                  <c:v>44448</c:v>
                </c:pt>
                <c:pt idx="252">
                  <c:v>44449</c:v>
                </c:pt>
                <c:pt idx="253">
                  <c:v>44450</c:v>
                </c:pt>
                <c:pt idx="254">
                  <c:v>44451</c:v>
                </c:pt>
                <c:pt idx="255">
                  <c:v>44452</c:v>
                </c:pt>
                <c:pt idx="256">
                  <c:v>44453</c:v>
                </c:pt>
                <c:pt idx="257">
                  <c:v>44454</c:v>
                </c:pt>
                <c:pt idx="258">
                  <c:v>44455</c:v>
                </c:pt>
                <c:pt idx="259">
                  <c:v>44456</c:v>
                </c:pt>
                <c:pt idx="260">
                  <c:v>44457</c:v>
                </c:pt>
                <c:pt idx="261">
                  <c:v>44458</c:v>
                </c:pt>
                <c:pt idx="262">
                  <c:v>44459</c:v>
                </c:pt>
                <c:pt idx="263">
                  <c:v>44460</c:v>
                </c:pt>
                <c:pt idx="264">
                  <c:v>44461</c:v>
                </c:pt>
                <c:pt idx="265">
                  <c:v>44462</c:v>
                </c:pt>
                <c:pt idx="266">
                  <c:v>44463</c:v>
                </c:pt>
                <c:pt idx="267">
                  <c:v>44464</c:v>
                </c:pt>
                <c:pt idx="268">
                  <c:v>44465</c:v>
                </c:pt>
                <c:pt idx="269">
                  <c:v>44466</c:v>
                </c:pt>
                <c:pt idx="270">
                  <c:v>44467</c:v>
                </c:pt>
                <c:pt idx="271">
                  <c:v>44468</c:v>
                </c:pt>
                <c:pt idx="272">
                  <c:v>44469</c:v>
                </c:pt>
                <c:pt idx="273">
                  <c:v>44470</c:v>
                </c:pt>
                <c:pt idx="274">
                  <c:v>44471</c:v>
                </c:pt>
                <c:pt idx="275">
                  <c:v>44472</c:v>
                </c:pt>
                <c:pt idx="276">
                  <c:v>44473</c:v>
                </c:pt>
                <c:pt idx="277">
                  <c:v>44474</c:v>
                </c:pt>
                <c:pt idx="278">
                  <c:v>44475</c:v>
                </c:pt>
                <c:pt idx="279">
                  <c:v>44476</c:v>
                </c:pt>
                <c:pt idx="280">
                  <c:v>44477</c:v>
                </c:pt>
                <c:pt idx="281">
                  <c:v>44478</c:v>
                </c:pt>
                <c:pt idx="282">
                  <c:v>44479</c:v>
                </c:pt>
                <c:pt idx="283">
                  <c:v>44480</c:v>
                </c:pt>
                <c:pt idx="284">
                  <c:v>44481</c:v>
                </c:pt>
                <c:pt idx="285">
                  <c:v>44482</c:v>
                </c:pt>
                <c:pt idx="286">
                  <c:v>44483</c:v>
                </c:pt>
                <c:pt idx="287">
                  <c:v>44484</c:v>
                </c:pt>
                <c:pt idx="288">
                  <c:v>44485</c:v>
                </c:pt>
                <c:pt idx="289">
                  <c:v>44486</c:v>
                </c:pt>
                <c:pt idx="290">
                  <c:v>44487</c:v>
                </c:pt>
                <c:pt idx="291">
                  <c:v>44488</c:v>
                </c:pt>
                <c:pt idx="292">
                  <c:v>44489</c:v>
                </c:pt>
                <c:pt idx="293">
                  <c:v>44490</c:v>
                </c:pt>
                <c:pt idx="294">
                  <c:v>44491</c:v>
                </c:pt>
                <c:pt idx="295">
                  <c:v>44492</c:v>
                </c:pt>
                <c:pt idx="296">
                  <c:v>44493</c:v>
                </c:pt>
                <c:pt idx="297">
                  <c:v>44494</c:v>
                </c:pt>
                <c:pt idx="298">
                  <c:v>44495</c:v>
                </c:pt>
                <c:pt idx="299">
                  <c:v>44496</c:v>
                </c:pt>
                <c:pt idx="300">
                  <c:v>44497</c:v>
                </c:pt>
                <c:pt idx="301">
                  <c:v>44498</c:v>
                </c:pt>
                <c:pt idx="302">
                  <c:v>44499</c:v>
                </c:pt>
                <c:pt idx="303">
                  <c:v>44500</c:v>
                </c:pt>
                <c:pt idx="304">
                  <c:v>44501</c:v>
                </c:pt>
                <c:pt idx="305">
                  <c:v>44502</c:v>
                </c:pt>
                <c:pt idx="306">
                  <c:v>44503</c:v>
                </c:pt>
                <c:pt idx="307">
                  <c:v>44504</c:v>
                </c:pt>
                <c:pt idx="308">
                  <c:v>44505</c:v>
                </c:pt>
                <c:pt idx="309">
                  <c:v>44506</c:v>
                </c:pt>
                <c:pt idx="310">
                  <c:v>44507</c:v>
                </c:pt>
                <c:pt idx="311">
                  <c:v>44508</c:v>
                </c:pt>
                <c:pt idx="312">
                  <c:v>44509</c:v>
                </c:pt>
                <c:pt idx="313">
                  <c:v>44510</c:v>
                </c:pt>
                <c:pt idx="314">
                  <c:v>44511</c:v>
                </c:pt>
                <c:pt idx="315">
                  <c:v>44512</c:v>
                </c:pt>
                <c:pt idx="316">
                  <c:v>44513</c:v>
                </c:pt>
                <c:pt idx="317">
                  <c:v>44514</c:v>
                </c:pt>
                <c:pt idx="318">
                  <c:v>44515</c:v>
                </c:pt>
                <c:pt idx="319">
                  <c:v>44516</c:v>
                </c:pt>
                <c:pt idx="320">
                  <c:v>44517</c:v>
                </c:pt>
                <c:pt idx="321">
                  <c:v>44518</c:v>
                </c:pt>
                <c:pt idx="322">
                  <c:v>44519</c:v>
                </c:pt>
                <c:pt idx="323">
                  <c:v>44520</c:v>
                </c:pt>
                <c:pt idx="324">
                  <c:v>44521</c:v>
                </c:pt>
                <c:pt idx="325">
                  <c:v>44522</c:v>
                </c:pt>
                <c:pt idx="326">
                  <c:v>44523</c:v>
                </c:pt>
                <c:pt idx="327">
                  <c:v>44524</c:v>
                </c:pt>
                <c:pt idx="328">
                  <c:v>44525</c:v>
                </c:pt>
                <c:pt idx="329">
                  <c:v>44526</c:v>
                </c:pt>
                <c:pt idx="330">
                  <c:v>44527</c:v>
                </c:pt>
                <c:pt idx="331">
                  <c:v>44528</c:v>
                </c:pt>
                <c:pt idx="332">
                  <c:v>44529</c:v>
                </c:pt>
                <c:pt idx="333">
                  <c:v>44530</c:v>
                </c:pt>
                <c:pt idx="334">
                  <c:v>44531</c:v>
                </c:pt>
                <c:pt idx="335">
                  <c:v>44532</c:v>
                </c:pt>
                <c:pt idx="336">
                  <c:v>44533</c:v>
                </c:pt>
                <c:pt idx="337">
                  <c:v>44534</c:v>
                </c:pt>
                <c:pt idx="338">
                  <c:v>44535</c:v>
                </c:pt>
                <c:pt idx="339">
                  <c:v>44536</c:v>
                </c:pt>
                <c:pt idx="340">
                  <c:v>44537</c:v>
                </c:pt>
                <c:pt idx="341">
                  <c:v>44538</c:v>
                </c:pt>
                <c:pt idx="342">
                  <c:v>44539</c:v>
                </c:pt>
                <c:pt idx="343">
                  <c:v>44540</c:v>
                </c:pt>
                <c:pt idx="344">
                  <c:v>44541</c:v>
                </c:pt>
                <c:pt idx="345">
                  <c:v>44542</c:v>
                </c:pt>
                <c:pt idx="346">
                  <c:v>44543</c:v>
                </c:pt>
                <c:pt idx="347">
                  <c:v>44544</c:v>
                </c:pt>
                <c:pt idx="348">
                  <c:v>44545</c:v>
                </c:pt>
                <c:pt idx="349">
                  <c:v>44546</c:v>
                </c:pt>
                <c:pt idx="350">
                  <c:v>44547</c:v>
                </c:pt>
                <c:pt idx="351">
                  <c:v>44548</c:v>
                </c:pt>
                <c:pt idx="352">
                  <c:v>44549</c:v>
                </c:pt>
                <c:pt idx="353">
                  <c:v>44550</c:v>
                </c:pt>
                <c:pt idx="354">
                  <c:v>44551</c:v>
                </c:pt>
                <c:pt idx="355">
                  <c:v>44552</c:v>
                </c:pt>
                <c:pt idx="356">
                  <c:v>44553</c:v>
                </c:pt>
                <c:pt idx="357">
                  <c:v>44554</c:v>
                </c:pt>
                <c:pt idx="358">
                  <c:v>44555</c:v>
                </c:pt>
                <c:pt idx="359">
                  <c:v>44556</c:v>
                </c:pt>
                <c:pt idx="360">
                  <c:v>44557</c:v>
                </c:pt>
                <c:pt idx="361">
                  <c:v>44558</c:v>
                </c:pt>
                <c:pt idx="362">
                  <c:v>44559</c:v>
                </c:pt>
                <c:pt idx="363">
                  <c:v>44560</c:v>
                </c:pt>
                <c:pt idx="364">
                  <c:v>44561</c:v>
                </c:pt>
                <c:pt idx="365">
                  <c:v>44562</c:v>
                </c:pt>
                <c:pt idx="366">
                  <c:v>44563</c:v>
                </c:pt>
                <c:pt idx="367">
                  <c:v>44564</c:v>
                </c:pt>
                <c:pt idx="368">
                  <c:v>44565</c:v>
                </c:pt>
                <c:pt idx="369">
                  <c:v>44566</c:v>
                </c:pt>
                <c:pt idx="370">
                  <c:v>44567</c:v>
                </c:pt>
                <c:pt idx="371">
                  <c:v>44568</c:v>
                </c:pt>
                <c:pt idx="372">
                  <c:v>44569</c:v>
                </c:pt>
                <c:pt idx="373">
                  <c:v>44570</c:v>
                </c:pt>
                <c:pt idx="374">
                  <c:v>44571</c:v>
                </c:pt>
                <c:pt idx="375">
                  <c:v>44572</c:v>
                </c:pt>
                <c:pt idx="376">
                  <c:v>44573</c:v>
                </c:pt>
                <c:pt idx="377">
                  <c:v>44574</c:v>
                </c:pt>
                <c:pt idx="378">
                  <c:v>44575</c:v>
                </c:pt>
                <c:pt idx="379">
                  <c:v>44576</c:v>
                </c:pt>
                <c:pt idx="380">
                  <c:v>44577</c:v>
                </c:pt>
                <c:pt idx="381">
                  <c:v>44578</c:v>
                </c:pt>
                <c:pt idx="382">
                  <c:v>44579</c:v>
                </c:pt>
                <c:pt idx="383">
                  <c:v>44580</c:v>
                </c:pt>
                <c:pt idx="384">
                  <c:v>44581</c:v>
                </c:pt>
                <c:pt idx="385">
                  <c:v>44582</c:v>
                </c:pt>
                <c:pt idx="386">
                  <c:v>44583</c:v>
                </c:pt>
                <c:pt idx="387">
                  <c:v>44584</c:v>
                </c:pt>
                <c:pt idx="388">
                  <c:v>44585</c:v>
                </c:pt>
                <c:pt idx="389">
                  <c:v>44586</c:v>
                </c:pt>
                <c:pt idx="390">
                  <c:v>44587</c:v>
                </c:pt>
                <c:pt idx="391">
                  <c:v>44588</c:v>
                </c:pt>
                <c:pt idx="392">
                  <c:v>44589</c:v>
                </c:pt>
                <c:pt idx="393">
                  <c:v>44590</c:v>
                </c:pt>
                <c:pt idx="394">
                  <c:v>44591</c:v>
                </c:pt>
                <c:pt idx="395">
                  <c:v>44592</c:v>
                </c:pt>
                <c:pt idx="396">
                  <c:v>44593</c:v>
                </c:pt>
                <c:pt idx="397">
                  <c:v>44594</c:v>
                </c:pt>
                <c:pt idx="398">
                  <c:v>44595</c:v>
                </c:pt>
                <c:pt idx="399">
                  <c:v>44596</c:v>
                </c:pt>
                <c:pt idx="400">
                  <c:v>44597</c:v>
                </c:pt>
                <c:pt idx="401">
                  <c:v>44598</c:v>
                </c:pt>
                <c:pt idx="402">
                  <c:v>44599</c:v>
                </c:pt>
                <c:pt idx="403">
                  <c:v>44600</c:v>
                </c:pt>
                <c:pt idx="404">
                  <c:v>44601</c:v>
                </c:pt>
                <c:pt idx="405">
                  <c:v>44602</c:v>
                </c:pt>
                <c:pt idx="406">
                  <c:v>44603</c:v>
                </c:pt>
                <c:pt idx="407">
                  <c:v>44604</c:v>
                </c:pt>
                <c:pt idx="408">
                  <c:v>44605</c:v>
                </c:pt>
                <c:pt idx="409">
                  <c:v>44606</c:v>
                </c:pt>
                <c:pt idx="410">
                  <c:v>44607</c:v>
                </c:pt>
                <c:pt idx="411">
                  <c:v>44608</c:v>
                </c:pt>
                <c:pt idx="412">
                  <c:v>44609</c:v>
                </c:pt>
                <c:pt idx="413">
                  <c:v>44610</c:v>
                </c:pt>
                <c:pt idx="414">
                  <c:v>44611</c:v>
                </c:pt>
                <c:pt idx="415">
                  <c:v>44612</c:v>
                </c:pt>
                <c:pt idx="416">
                  <c:v>44613</c:v>
                </c:pt>
                <c:pt idx="417">
                  <c:v>44614</c:v>
                </c:pt>
                <c:pt idx="418">
                  <c:v>44615</c:v>
                </c:pt>
                <c:pt idx="419">
                  <c:v>44616</c:v>
                </c:pt>
                <c:pt idx="420">
                  <c:v>44617</c:v>
                </c:pt>
                <c:pt idx="421">
                  <c:v>44618</c:v>
                </c:pt>
                <c:pt idx="422">
                  <c:v>44619</c:v>
                </c:pt>
                <c:pt idx="423">
                  <c:v>44620</c:v>
                </c:pt>
                <c:pt idx="424">
                  <c:v>44621</c:v>
                </c:pt>
                <c:pt idx="425">
                  <c:v>44622</c:v>
                </c:pt>
                <c:pt idx="426">
                  <c:v>44623</c:v>
                </c:pt>
                <c:pt idx="427">
                  <c:v>44624</c:v>
                </c:pt>
                <c:pt idx="428">
                  <c:v>44625</c:v>
                </c:pt>
                <c:pt idx="429">
                  <c:v>44626</c:v>
                </c:pt>
                <c:pt idx="430">
                  <c:v>44627</c:v>
                </c:pt>
                <c:pt idx="431">
                  <c:v>44628</c:v>
                </c:pt>
                <c:pt idx="432">
                  <c:v>44629</c:v>
                </c:pt>
                <c:pt idx="433">
                  <c:v>44630</c:v>
                </c:pt>
                <c:pt idx="434">
                  <c:v>44631</c:v>
                </c:pt>
                <c:pt idx="435">
                  <c:v>44632</c:v>
                </c:pt>
                <c:pt idx="436">
                  <c:v>44633</c:v>
                </c:pt>
                <c:pt idx="437">
                  <c:v>44634</c:v>
                </c:pt>
                <c:pt idx="438">
                  <c:v>44635</c:v>
                </c:pt>
                <c:pt idx="439">
                  <c:v>44636</c:v>
                </c:pt>
                <c:pt idx="440">
                  <c:v>44637</c:v>
                </c:pt>
                <c:pt idx="441">
                  <c:v>44638</c:v>
                </c:pt>
                <c:pt idx="442">
                  <c:v>44639</c:v>
                </c:pt>
                <c:pt idx="443">
                  <c:v>44640</c:v>
                </c:pt>
                <c:pt idx="444">
                  <c:v>44641</c:v>
                </c:pt>
                <c:pt idx="445">
                  <c:v>44642</c:v>
                </c:pt>
                <c:pt idx="446">
                  <c:v>44643</c:v>
                </c:pt>
                <c:pt idx="447">
                  <c:v>44644</c:v>
                </c:pt>
                <c:pt idx="448">
                  <c:v>44645</c:v>
                </c:pt>
                <c:pt idx="449">
                  <c:v>44646</c:v>
                </c:pt>
                <c:pt idx="450">
                  <c:v>44647</c:v>
                </c:pt>
                <c:pt idx="451">
                  <c:v>44648</c:v>
                </c:pt>
                <c:pt idx="452">
                  <c:v>44649</c:v>
                </c:pt>
                <c:pt idx="453">
                  <c:v>44650</c:v>
                </c:pt>
                <c:pt idx="454">
                  <c:v>44651</c:v>
                </c:pt>
                <c:pt idx="455">
                  <c:v>44652</c:v>
                </c:pt>
              </c:numCache>
            </c:numRef>
          </c:cat>
          <c:val>
            <c:numRef>
              <c:f>Sheet1!$B$1:$B$539</c:f>
              <c:numCache>
                <c:formatCode>General</c:formatCode>
                <c:ptCount val="539"/>
                <c:pt idx="0">
                  <c:v>0.4</c:v>
                </c:pt>
                <c:pt idx="1">
                  <c:v>0.24137931034400001</c:v>
                </c:pt>
                <c:pt idx="2">
                  <c:v>0.318181818181</c:v>
                </c:pt>
                <c:pt idx="3">
                  <c:v>7.4074074074000004E-2</c:v>
                </c:pt>
                <c:pt idx="4">
                  <c:v>0.16326530612199999</c:v>
                </c:pt>
                <c:pt idx="5">
                  <c:v>0.16568047337200001</c:v>
                </c:pt>
                <c:pt idx="6">
                  <c:v>0.29347826086899997</c:v>
                </c:pt>
                <c:pt idx="7">
                  <c:v>0.26890756302500002</c:v>
                </c:pt>
                <c:pt idx="8">
                  <c:v>0.24705882352899999</c:v>
                </c:pt>
                <c:pt idx="9">
                  <c:v>9.5238095238000003E-2</c:v>
                </c:pt>
                <c:pt idx="10">
                  <c:v>9.0090090090000005E-2</c:v>
                </c:pt>
                <c:pt idx="11">
                  <c:v>8.7108013937000003E-2</c:v>
                </c:pt>
                <c:pt idx="12">
                  <c:v>0.116040955631</c:v>
                </c:pt>
                <c:pt idx="13">
                  <c:v>0.15789473684200001</c:v>
                </c:pt>
                <c:pt idx="14">
                  <c:v>7.5949367088E-2</c:v>
                </c:pt>
                <c:pt idx="15">
                  <c:v>0.1</c:v>
                </c:pt>
                <c:pt idx="16">
                  <c:v>6.0240963855000003E-2</c:v>
                </c:pt>
                <c:pt idx="17">
                  <c:v>9.7222222221999999E-2</c:v>
                </c:pt>
                <c:pt idx="18">
                  <c:v>0.15137614678799999</c:v>
                </c:pt>
                <c:pt idx="19">
                  <c:v>0.193236714975</c:v>
                </c:pt>
                <c:pt idx="20">
                  <c:v>0.12021857923400001</c:v>
                </c:pt>
                <c:pt idx="21">
                  <c:v>0.14285714285699999</c:v>
                </c:pt>
                <c:pt idx="22">
                  <c:v>0.17948717948699999</c:v>
                </c:pt>
                <c:pt idx="23">
                  <c:v>0.14285714285699999</c:v>
                </c:pt>
                <c:pt idx="24">
                  <c:v>6.5015479875999996E-2</c:v>
                </c:pt>
                <c:pt idx="25">
                  <c:v>0.13565891472800001</c:v>
                </c:pt>
                <c:pt idx="26">
                  <c:v>0.15384615384600001</c:v>
                </c:pt>
                <c:pt idx="27">
                  <c:v>0.14414414414400001</c:v>
                </c:pt>
                <c:pt idx="28">
                  <c:v>0.26896551724099999</c:v>
                </c:pt>
                <c:pt idx="29">
                  <c:v>0.25757575757500001</c:v>
                </c:pt>
                <c:pt idx="30">
                  <c:v>0.15384615384600001</c:v>
                </c:pt>
                <c:pt idx="31">
                  <c:v>0.10687022900699999</c:v>
                </c:pt>
                <c:pt idx="32">
                  <c:v>0.158163265306</c:v>
                </c:pt>
                <c:pt idx="33">
                  <c:v>0.194736842105</c:v>
                </c:pt>
                <c:pt idx="34">
                  <c:v>0.23270440251499999</c:v>
                </c:pt>
                <c:pt idx="35">
                  <c:v>0.24175824175800001</c:v>
                </c:pt>
                <c:pt idx="36">
                  <c:v>0.303571428571</c:v>
                </c:pt>
                <c:pt idx="37">
                  <c:v>0.222222222222</c:v>
                </c:pt>
                <c:pt idx="38">
                  <c:v>0.21212121212099999</c:v>
                </c:pt>
                <c:pt idx="39">
                  <c:v>0.26633165829099997</c:v>
                </c:pt>
                <c:pt idx="40">
                  <c:v>0.31210191082799998</c:v>
                </c:pt>
                <c:pt idx="41">
                  <c:v>0.23560209424</c:v>
                </c:pt>
                <c:pt idx="42">
                  <c:v>0.306930693069</c:v>
                </c:pt>
                <c:pt idx="43">
                  <c:v>0.39393939393900002</c:v>
                </c:pt>
                <c:pt idx="44">
                  <c:v>0.222222222222</c:v>
                </c:pt>
                <c:pt idx="45">
                  <c:v>0.15646258503400001</c:v>
                </c:pt>
                <c:pt idx="46">
                  <c:v>0.26457399103099999</c:v>
                </c:pt>
                <c:pt idx="47">
                  <c:v>0.26130653266300002</c:v>
                </c:pt>
                <c:pt idx="48">
                  <c:v>0.28095238095199998</c:v>
                </c:pt>
                <c:pt idx="49">
                  <c:v>0.180555555555</c:v>
                </c:pt>
                <c:pt idx="50">
                  <c:v>0.224719101123</c:v>
                </c:pt>
                <c:pt idx="51">
                  <c:v>0.33333333333300003</c:v>
                </c:pt>
                <c:pt idx="52">
                  <c:v>0.18518518518499999</c:v>
                </c:pt>
                <c:pt idx="53">
                  <c:v>0.31316725978600002</c:v>
                </c:pt>
                <c:pt idx="54">
                  <c:v>0.39574468085100001</c:v>
                </c:pt>
                <c:pt idx="55">
                  <c:v>0.32701421800899999</c:v>
                </c:pt>
                <c:pt idx="56">
                  <c:v>0.28521126760499999</c:v>
                </c:pt>
                <c:pt idx="57">
                  <c:v>0.28749999999999998</c:v>
                </c:pt>
                <c:pt idx="58">
                  <c:v>0.12844036697200001</c:v>
                </c:pt>
                <c:pt idx="59">
                  <c:v>0.30973451327399998</c:v>
                </c:pt>
                <c:pt idx="60">
                  <c:v>0.34798534798500003</c:v>
                </c:pt>
                <c:pt idx="61">
                  <c:v>0.35746606334800002</c:v>
                </c:pt>
                <c:pt idx="62">
                  <c:v>0.36466165413500001</c:v>
                </c:pt>
                <c:pt idx="63">
                  <c:v>0.27331189710600001</c:v>
                </c:pt>
                <c:pt idx="64">
                  <c:v>0.28000000000000003</c:v>
                </c:pt>
                <c:pt idx="65">
                  <c:v>0.3</c:v>
                </c:pt>
                <c:pt idx="66">
                  <c:v>0.30268199233699999</c:v>
                </c:pt>
                <c:pt idx="67">
                  <c:v>0.42909090908999997</c:v>
                </c:pt>
                <c:pt idx="68">
                  <c:v>0.42657342657300001</c:v>
                </c:pt>
                <c:pt idx="69">
                  <c:v>0.34146341463399998</c:v>
                </c:pt>
                <c:pt idx="70">
                  <c:v>0.31987577639699999</c:v>
                </c:pt>
                <c:pt idx="71">
                  <c:v>0.36956521739100001</c:v>
                </c:pt>
                <c:pt idx="72">
                  <c:v>0.258064516129</c:v>
                </c:pt>
                <c:pt idx="73">
                  <c:v>0.24299065420499999</c:v>
                </c:pt>
                <c:pt idx="74">
                  <c:v>0.36102236421700001</c:v>
                </c:pt>
                <c:pt idx="75">
                  <c:v>0.33649289099500002</c:v>
                </c:pt>
                <c:pt idx="76">
                  <c:v>0.31132075471600001</c:v>
                </c:pt>
                <c:pt idx="77">
                  <c:v>0.31835205992499999</c:v>
                </c:pt>
                <c:pt idx="78">
                  <c:v>0.234848484848</c:v>
                </c:pt>
                <c:pt idx="79">
                  <c:v>0.135416666666</c:v>
                </c:pt>
                <c:pt idx="80">
                  <c:v>0.29310344827500001</c:v>
                </c:pt>
                <c:pt idx="81">
                  <c:v>0.322448979591</c:v>
                </c:pt>
                <c:pt idx="82">
                  <c:v>0.366834170854</c:v>
                </c:pt>
                <c:pt idx="83">
                  <c:v>0.30481283422400002</c:v>
                </c:pt>
                <c:pt idx="84">
                  <c:v>0.21406727828700001</c:v>
                </c:pt>
                <c:pt idx="85">
                  <c:v>0.30379746835400001</c:v>
                </c:pt>
                <c:pt idx="86">
                  <c:v>0.22857142857099999</c:v>
                </c:pt>
                <c:pt idx="87">
                  <c:v>0.213483146067</c:v>
                </c:pt>
                <c:pt idx="88">
                  <c:v>0.29378531073399999</c:v>
                </c:pt>
                <c:pt idx="89">
                  <c:v>0.229166666666</c:v>
                </c:pt>
                <c:pt idx="90">
                  <c:v>0.18279569892399999</c:v>
                </c:pt>
                <c:pt idx="91">
                  <c:v>0.37362637362599999</c:v>
                </c:pt>
                <c:pt idx="92">
                  <c:v>0.12962962962899999</c:v>
                </c:pt>
                <c:pt idx="93">
                  <c:v>0.117647058823</c:v>
                </c:pt>
                <c:pt idx="94">
                  <c:v>0.137931034482</c:v>
                </c:pt>
                <c:pt idx="95">
                  <c:v>0.21459227467799999</c:v>
                </c:pt>
                <c:pt idx="96">
                  <c:v>0.17180616739999999</c:v>
                </c:pt>
                <c:pt idx="97">
                  <c:v>0.27976190476099999</c:v>
                </c:pt>
                <c:pt idx="98">
                  <c:v>0.196629213483</c:v>
                </c:pt>
                <c:pt idx="99">
                  <c:v>0.13207547169799999</c:v>
                </c:pt>
                <c:pt idx="100">
                  <c:v>9.6774193548000001E-2</c:v>
                </c:pt>
                <c:pt idx="101">
                  <c:v>0.15060240963800001</c:v>
                </c:pt>
                <c:pt idx="102">
                  <c:v>0.22992700729900001</c:v>
                </c:pt>
                <c:pt idx="103">
                  <c:v>0.19047619047600001</c:v>
                </c:pt>
                <c:pt idx="104">
                  <c:v>0.14835164835100001</c:v>
                </c:pt>
                <c:pt idx="105">
                  <c:v>0.10502283105</c:v>
                </c:pt>
                <c:pt idx="106">
                  <c:v>8.8235294116999999E-2</c:v>
                </c:pt>
                <c:pt idx="107">
                  <c:v>0.11538461538399999</c:v>
                </c:pt>
                <c:pt idx="108">
                  <c:v>0.04</c:v>
                </c:pt>
                <c:pt idx="109">
                  <c:v>0.15887850467199999</c:v>
                </c:pt>
                <c:pt idx="110">
                  <c:v>0.119565217391</c:v>
                </c:pt>
                <c:pt idx="111">
                  <c:v>4.4247787609999999E-2</c:v>
                </c:pt>
                <c:pt idx="112">
                  <c:v>0.112903225806</c:v>
                </c:pt>
                <c:pt idx="113">
                  <c:v>8.1632653060999996E-2</c:v>
                </c:pt>
                <c:pt idx="114">
                  <c:v>9.0909090908999998E-2</c:v>
                </c:pt>
                <c:pt idx="115">
                  <c:v>7.7720207252999995E-2</c:v>
                </c:pt>
                <c:pt idx="116">
                  <c:v>0.108280254777</c:v>
                </c:pt>
                <c:pt idx="117">
                  <c:v>0.08</c:v>
                </c:pt>
                <c:pt idx="118">
                  <c:v>4.4534412954999998E-2</c:v>
                </c:pt>
                <c:pt idx="119">
                  <c:v>9.3167701862999996E-2</c:v>
                </c:pt>
                <c:pt idx="120">
                  <c:v>9.4594594594000006E-2</c:v>
                </c:pt>
                <c:pt idx="121">
                  <c:v>2.9850746268000002E-2</c:v>
                </c:pt>
                <c:pt idx="122">
                  <c:v>2.5000000000000001E-2</c:v>
                </c:pt>
                <c:pt idx="123">
                  <c:v>7.6388888887999995E-2</c:v>
                </c:pt>
                <c:pt idx="124">
                  <c:v>6.3829787233999999E-2</c:v>
                </c:pt>
                <c:pt idx="125">
                  <c:v>3.2520325203000001E-2</c:v>
                </c:pt>
                <c:pt idx="126">
                  <c:v>0.10457516339800001</c:v>
                </c:pt>
                <c:pt idx="127">
                  <c:v>4.0540540540000003E-2</c:v>
                </c:pt>
                <c:pt idx="128">
                  <c:v>0</c:v>
                </c:pt>
                <c:pt idx="129">
                  <c:v>1.7605633802E-2</c:v>
                </c:pt>
                <c:pt idx="130">
                  <c:v>4.6153846153E-2</c:v>
                </c:pt>
                <c:pt idx="131">
                  <c:v>1.9607843137000001E-2</c:v>
                </c:pt>
                <c:pt idx="132">
                  <c:v>2.8662420381999999E-2</c:v>
                </c:pt>
                <c:pt idx="133">
                  <c:v>2.4875621890000001E-2</c:v>
                </c:pt>
                <c:pt idx="134">
                  <c:v>1.7857142857000002E-2</c:v>
                </c:pt>
                <c:pt idx="135">
                  <c:v>2.0833333333000002E-2</c:v>
                </c:pt>
                <c:pt idx="136">
                  <c:v>2.8571428570000001E-3</c:v>
                </c:pt>
                <c:pt idx="137">
                  <c:v>3.4482758619999998E-2</c:v>
                </c:pt>
                <c:pt idx="138">
                  <c:v>2.8571428571E-2</c:v>
                </c:pt>
                <c:pt idx="139">
                  <c:v>6.0060060060000003E-3</c:v>
                </c:pt>
                <c:pt idx="140">
                  <c:v>2.7649769585000001E-2</c:v>
                </c:pt>
                <c:pt idx="141">
                  <c:v>0</c:v>
                </c:pt>
                <c:pt idx="142">
                  <c:v>0</c:v>
                </c:pt>
                <c:pt idx="143">
                  <c:v>8.4985835690000004E-3</c:v>
                </c:pt>
                <c:pt idx="144">
                  <c:v>1.7391304347000001E-2</c:v>
                </c:pt>
                <c:pt idx="145">
                  <c:v>1.3605442176E-2</c:v>
                </c:pt>
                <c:pt idx="146">
                  <c:v>1.1111111111000001E-2</c:v>
                </c:pt>
                <c:pt idx="147">
                  <c:v>1.7857142857000002E-2</c:v>
                </c:pt>
                <c:pt idx="148">
                  <c:v>0</c:v>
                </c:pt>
                <c:pt idx="149">
                  <c:v>0</c:v>
                </c:pt>
                <c:pt idx="150">
                  <c:v>3.1055900619999998E-3</c:v>
                </c:pt>
                <c:pt idx="151">
                  <c:v>1.7341040461999999E-2</c:v>
                </c:pt>
                <c:pt idx="152">
                  <c:v>2.5806451612E-2</c:v>
                </c:pt>
                <c:pt idx="153">
                  <c:v>1.5037593984E-2</c:v>
                </c:pt>
                <c:pt idx="154">
                  <c:v>5.988023952E-3</c:v>
                </c:pt>
                <c:pt idx="155">
                  <c:v>2.3809523809000002E-2</c:v>
                </c:pt>
                <c:pt idx="156">
                  <c:v>0</c:v>
                </c:pt>
                <c:pt idx="157">
                  <c:v>6.4102564099999997E-3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9.2592592590000009E-3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1.2658227847999999E-2</c:v>
                </c:pt>
                <c:pt idx="167">
                  <c:v>4.2372881350000004E-3</c:v>
                </c:pt>
                <c:pt idx="168">
                  <c:v>0</c:v>
                </c:pt>
                <c:pt idx="169">
                  <c:v>0</c:v>
                </c:pt>
                <c:pt idx="170">
                  <c:v>3.0303030303000002E-2</c:v>
                </c:pt>
                <c:pt idx="171">
                  <c:v>0</c:v>
                </c:pt>
                <c:pt idx="172">
                  <c:v>9.3457943919999995E-3</c:v>
                </c:pt>
                <c:pt idx="173">
                  <c:v>0</c:v>
                </c:pt>
                <c:pt idx="174">
                  <c:v>2.1739130434000001E-2</c:v>
                </c:pt>
                <c:pt idx="175">
                  <c:v>1.5151515151E-2</c:v>
                </c:pt>
                <c:pt idx="176">
                  <c:v>0</c:v>
                </c:pt>
                <c:pt idx="177">
                  <c:v>0</c:v>
                </c:pt>
                <c:pt idx="178">
                  <c:v>4.6728971962000002E-2</c:v>
                </c:pt>
                <c:pt idx="179">
                  <c:v>0</c:v>
                </c:pt>
                <c:pt idx="180">
                  <c:v>2.0408163265000001E-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7.6923076923000003E-2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2.1739130434000001E-2</c:v>
                </c:pt>
                <c:pt idx="189">
                  <c:v>4.0540540540000003E-2</c:v>
                </c:pt>
                <c:pt idx="190">
                  <c:v>0</c:v>
                </c:pt>
                <c:pt idx="191">
                  <c:v>0</c:v>
                </c:pt>
                <c:pt idx="192">
                  <c:v>9.615384615E-3</c:v>
                </c:pt>
                <c:pt idx="193">
                  <c:v>6.8493150683999998E-2</c:v>
                </c:pt>
                <c:pt idx="194">
                  <c:v>2.2471910112000001E-2</c:v>
                </c:pt>
                <c:pt idx="195">
                  <c:v>0</c:v>
                </c:pt>
                <c:pt idx="196">
                  <c:v>3.9473684209999998E-2</c:v>
                </c:pt>
                <c:pt idx="197">
                  <c:v>2.7777777776999999E-2</c:v>
                </c:pt>
                <c:pt idx="198">
                  <c:v>0</c:v>
                </c:pt>
                <c:pt idx="199">
                  <c:v>0.04</c:v>
                </c:pt>
                <c:pt idx="200">
                  <c:v>0</c:v>
                </c:pt>
                <c:pt idx="201">
                  <c:v>0</c:v>
                </c:pt>
                <c:pt idx="202">
                  <c:v>1.0416666666E-2</c:v>
                </c:pt>
                <c:pt idx="203">
                  <c:v>3.4482758619999998E-2</c:v>
                </c:pt>
                <c:pt idx="204">
                  <c:v>1.4084507042E-2</c:v>
                </c:pt>
                <c:pt idx="205">
                  <c:v>3.4482758619999998E-2</c:v>
                </c:pt>
                <c:pt idx="206">
                  <c:v>2.3255813952999999E-2</c:v>
                </c:pt>
                <c:pt idx="207">
                  <c:v>1.1363636363E-2</c:v>
                </c:pt>
                <c:pt idx="208">
                  <c:v>1.1111111111000001E-2</c:v>
                </c:pt>
                <c:pt idx="209">
                  <c:v>4.4117647057999997E-2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2.7027027027000002E-2</c:v>
                </c:pt>
                <c:pt idx="216">
                  <c:v>0</c:v>
                </c:pt>
                <c:pt idx="217">
                  <c:v>3.8461538460999999E-2</c:v>
                </c:pt>
                <c:pt idx="218">
                  <c:v>4.5454545454000003E-2</c:v>
                </c:pt>
                <c:pt idx="219">
                  <c:v>0</c:v>
                </c:pt>
                <c:pt idx="220">
                  <c:v>1.3333333333E-2</c:v>
                </c:pt>
                <c:pt idx="221">
                  <c:v>0</c:v>
                </c:pt>
                <c:pt idx="222">
                  <c:v>3.3333333333000002E-2</c:v>
                </c:pt>
                <c:pt idx="223">
                  <c:v>2.8169014084000001E-2</c:v>
                </c:pt>
                <c:pt idx="224">
                  <c:v>0</c:v>
                </c:pt>
                <c:pt idx="225">
                  <c:v>4.7619047619000002E-2</c:v>
                </c:pt>
                <c:pt idx="226">
                  <c:v>0</c:v>
                </c:pt>
                <c:pt idx="227">
                  <c:v>0</c:v>
                </c:pt>
                <c:pt idx="228">
                  <c:v>1.6393442622000001E-2</c:v>
                </c:pt>
                <c:pt idx="229">
                  <c:v>4.2553191488999997E-2</c:v>
                </c:pt>
                <c:pt idx="230">
                  <c:v>5.1282051282000002E-2</c:v>
                </c:pt>
                <c:pt idx="231">
                  <c:v>1.2048192770999999E-2</c:v>
                </c:pt>
                <c:pt idx="232">
                  <c:v>4.7619047619000002E-2</c:v>
                </c:pt>
                <c:pt idx="233">
                  <c:v>4.5454545454000003E-2</c:v>
                </c:pt>
                <c:pt idx="234">
                  <c:v>4.4117647057999997E-2</c:v>
                </c:pt>
                <c:pt idx="235">
                  <c:v>2.2222222222000002E-2</c:v>
                </c:pt>
                <c:pt idx="236">
                  <c:v>4.9180327868000001E-2</c:v>
                </c:pt>
                <c:pt idx="237">
                  <c:v>5.1724137931000003E-2</c:v>
                </c:pt>
                <c:pt idx="238">
                  <c:v>0.05</c:v>
                </c:pt>
                <c:pt idx="239">
                  <c:v>3.8461538460999999E-2</c:v>
                </c:pt>
                <c:pt idx="240">
                  <c:v>8.3333333332999998E-2</c:v>
                </c:pt>
                <c:pt idx="241">
                  <c:v>3.3898305083999998E-2</c:v>
                </c:pt>
                <c:pt idx="242">
                  <c:v>1.6129032258000001E-2</c:v>
                </c:pt>
                <c:pt idx="243">
                  <c:v>7.0175438596000006E-2</c:v>
                </c:pt>
                <c:pt idx="244">
                  <c:v>8.1632653060999996E-2</c:v>
                </c:pt>
                <c:pt idx="245">
                  <c:v>4.3478260869000002E-2</c:v>
                </c:pt>
                <c:pt idx="246">
                  <c:v>0</c:v>
                </c:pt>
                <c:pt idx="247">
                  <c:v>6.25E-2</c:v>
                </c:pt>
                <c:pt idx="248">
                  <c:v>3.9215686274000003E-2</c:v>
                </c:pt>
                <c:pt idx="249">
                  <c:v>7.5471698113000002E-2</c:v>
                </c:pt>
                <c:pt idx="250">
                  <c:v>1.4492753622999999E-2</c:v>
                </c:pt>
                <c:pt idx="251">
                  <c:v>0</c:v>
                </c:pt>
                <c:pt idx="252">
                  <c:v>3.4090909090000003E-2</c:v>
                </c:pt>
                <c:pt idx="253">
                  <c:v>3.8461538460999999E-2</c:v>
                </c:pt>
                <c:pt idx="254">
                  <c:v>0.11538461538399999</c:v>
                </c:pt>
                <c:pt idx="255">
                  <c:v>7.8125E-2</c:v>
                </c:pt>
                <c:pt idx="256">
                  <c:v>0.15</c:v>
                </c:pt>
                <c:pt idx="257">
                  <c:v>1.8181818180999999E-2</c:v>
                </c:pt>
                <c:pt idx="258">
                  <c:v>0.12727272727200001</c:v>
                </c:pt>
                <c:pt idx="259">
                  <c:v>3.9473684209999998E-2</c:v>
                </c:pt>
                <c:pt idx="260">
                  <c:v>0.1</c:v>
                </c:pt>
                <c:pt idx="261">
                  <c:v>0</c:v>
                </c:pt>
                <c:pt idx="262">
                  <c:v>0.102564102564</c:v>
                </c:pt>
                <c:pt idx="263">
                  <c:v>4.7619047619000002E-2</c:v>
                </c:pt>
                <c:pt idx="264">
                  <c:v>0</c:v>
                </c:pt>
                <c:pt idx="265">
                  <c:v>8.8235294116999999E-2</c:v>
                </c:pt>
                <c:pt idx="266">
                  <c:v>0.112903225806</c:v>
                </c:pt>
                <c:pt idx="267">
                  <c:v>3.2258064516000003E-2</c:v>
                </c:pt>
                <c:pt idx="268">
                  <c:v>0.13333333333299999</c:v>
                </c:pt>
                <c:pt idx="269">
                  <c:v>5.0847457626999999E-2</c:v>
                </c:pt>
                <c:pt idx="270">
                  <c:v>3.7037037037000002E-2</c:v>
                </c:pt>
                <c:pt idx="271">
                  <c:v>0.10465116279</c:v>
                </c:pt>
                <c:pt idx="272">
                  <c:v>6.3291139240000002E-2</c:v>
                </c:pt>
                <c:pt idx="273">
                  <c:v>3.3057851239E-2</c:v>
                </c:pt>
                <c:pt idx="274">
                  <c:v>8.8888888888000006E-2</c:v>
                </c:pt>
                <c:pt idx="275">
                  <c:v>9.0909090908999998E-2</c:v>
                </c:pt>
                <c:pt idx="276">
                  <c:v>9.4488188976000004E-2</c:v>
                </c:pt>
                <c:pt idx="277">
                  <c:v>0.18421052631500001</c:v>
                </c:pt>
                <c:pt idx="278">
                  <c:v>0.14736842105199999</c:v>
                </c:pt>
                <c:pt idx="279">
                  <c:v>0.15384615384600001</c:v>
                </c:pt>
                <c:pt idx="280">
                  <c:v>0.12048192771000001</c:v>
                </c:pt>
                <c:pt idx="281">
                  <c:v>0.210526315789</c:v>
                </c:pt>
                <c:pt idx="282">
                  <c:v>5.8823529410999997E-2</c:v>
                </c:pt>
                <c:pt idx="283">
                  <c:v>0.195876288659</c:v>
                </c:pt>
                <c:pt idx="284">
                  <c:v>0.197183098591</c:v>
                </c:pt>
                <c:pt idx="285">
                  <c:v>0.213483146067</c:v>
                </c:pt>
                <c:pt idx="286">
                  <c:v>0.182926829268</c:v>
                </c:pt>
                <c:pt idx="287">
                  <c:v>0.14814814814800001</c:v>
                </c:pt>
                <c:pt idx="288">
                  <c:v>0.244897959183</c:v>
                </c:pt>
                <c:pt idx="289">
                  <c:v>0.204081632653</c:v>
                </c:pt>
                <c:pt idx="290">
                  <c:v>0.24166666666600001</c:v>
                </c:pt>
                <c:pt idx="291">
                  <c:v>0.252631578947</c:v>
                </c:pt>
                <c:pt idx="292">
                  <c:v>0.34234234234200001</c:v>
                </c:pt>
                <c:pt idx="293">
                  <c:v>0.296610169491</c:v>
                </c:pt>
                <c:pt idx="294">
                  <c:v>0.28000000000000003</c:v>
                </c:pt>
                <c:pt idx="295">
                  <c:v>0.47058823529400001</c:v>
                </c:pt>
                <c:pt idx="296">
                  <c:v>0.243902439024</c:v>
                </c:pt>
                <c:pt idx="297">
                  <c:v>0.32089552238800001</c:v>
                </c:pt>
                <c:pt idx="298">
                  <c:v>0.28030303030300002</c:v>
                </c:pt>
                <c:pt idx="299">
                  <c:v>0.25</c:v>
                </c:pt>
                <c:pt idx="300">
                  <c:v>0.4375</c:v>
                </c:pt>
                <c:pt idx="301">
                  <c:v>0.225806451612</c:v>
                </c:pt>
                <c:pt idx="302">
                  <c:v>0.23529411764700001</c:v>
                </c:pt>
                <c:pt idx="303">
                  <c:v>0.244897959183</c:v>
                </c:pt>
                <c:pt idx="304">
                  <c:v>0.34078212290499998</c:v>
                </c:pt>
                <c:pt idx="305">
                  <c:v>0.38834951456299999</c:v>
                </c:pt>
                <c:pt idx="306">
                  <c:v>0.37823834196799999</c:v>
                </c:pt>
                <c:pt idx="307">
                  <c:v>0.35975609755999999</c:v>
                </c:pt>
                <c:pt idx="308">
                  <c:v>0.35326086956500002</c:v>
                </c:pt>
                <c:pt idx="309">
                  <c:v>0.384615384615</c:v>
                </c:pt>
                <c:pt idx="310">
                  <c:v>0.243902439024</c:v>
                </c:pt>
                <c:pt idx="311">
                  <c:v>0.35465116278999997</c:v>
                </c:pt>
                <c:pt idx="312">
                  <c:v>0.44292237442900001</c:v>
                </c:pt>
                <c:pt idx="313">
                  <c:v>0.39500000000000002</c:v>
                </c:pt>
                <c:pt idx="314">
                  <c:v>0.35582822085799998</c:v>
                </c:pt>
                <c:pt idx="315">
                  <c:v>0.43842364532</c:v>
                </c:pt>
                <c:pt idx="316">
                  <c:v>0.44943820224699998</c:v>
                </c:pt>
                <c:pt idx="317">
                  <c:v>0.46153846153799999</c:v>
                </c:pt>
                <c:pt idx="318">
                  <c:v>0.38953488372</c:v>
                </c:pt>
                <c:pt idx="319">
                  <c:v>0.49196141479</c:v>
                </c:pt>
                <c:pt idx="320">
                  <c:v>0.504424778761</c:v>
                </c:pt>
                <c:pt idx="321">
                  <c:v>0.43171806167400001</c:v>
                </c:pt>
                <c:pt idx="322">
                  <c:v>0.45045045044999998</c:v>
                </c:pt>
                <c:pt idx="323">
                  <c:v>0.36144578313199999</c:v>
                </c:pt>
                <c:pt idx="324">
                  <c:v>0.29629629629600002</c:v>
                </c:pt>
                <c:pt idx="325">
                  <c:v>0.443298969072</c:v>
                </c:pt>
                <c:pt idx="326">
                  <c:v>0.44480519480500003</c:v>
                </c:pt>
                <c:pt idx="327">
                  <c:v>0.41366906474800003</c:v>
                </c:pt>
                <c:pt idx="328">
                  <c:v>0.47126436781600001</c:v>
                </c:pt>
                <c:pt idx="329">
                  <c:v>0.41501976284499997</c:v>
                </c:pt>
                <c:pt idx="330">
                  <c:v>0.48502994011900002</c:v>
                </c:pt>
                <c:pt idx="331">
                  <c:v>0.46875</c:v>
                </c:pt>
                <c:pt idx="332">
                  <c:v>0.432835820895</c:v>
                </c:pt>
                <c:pt idx="333">
                  <c:v>0.468390804597</c:v>
                </c:pt>
                <c:pt idx="334">
                  <c:v>0.40350877192899998</c:v>
                </c:pt>
                <c:pt idx="335">
                  <c:v>0.51764705882299999</c:v>
                </c:pt>
                <c:pt idx="336">
                  <c:v>0.370833333333</c:v>
                </c:pt>
                <c:pt idx="337">
                  <c:v>0.46323529411699998</c:v>
                </c:pt>
                <c:pt idx="338">
                  <c:v>0.28125</c:v>
                </c:pt>
                <c:pt idx="339">
                  <c:v>0.382775119617</c:v>
                </c:pt>
                <c:pt idx="340">
                  <c:v>0.43893129770900002</c:v>
                </c:pt>
                <c:pt idx="341">
                  <c:v>0.37104072398100002</c:v>
                </c:pt>
                <c:pt idx="342">
                  <c:v>0.34934497816499999</c:v>
                </c:pt>
                <c:pt idx="343">
                  <c:v>0.447916666666</c:v>
                </c:pt>
                <c:pt idx="344">
                  <c:v>0.43269230769200001</c:v>
                </c:pt>
                <c:pt idx="345">
                  <c:v>0.19607843137200001</c:v>
                </c:pt>
                <c:pt idx="346">
                  <c:v>0.37209302325499999</c:v>
                </c:pt>
                <c:pt idx="347">
                  <c:v>0.35526315789399998</c:v>
                </c:pt>
                <c:pt idx="348">
                  <c:v>0.385416666666</c:v>
                </c:pt>
                <c:pt idx="349">
                  <c:v>0.34265734265699999</c:v>
                </c:pt>
                <c:pt idx="350">
                  <c:v>0.31578947368400001</c:v>
                </c:pt>
                <c:pt idx="351">
                  <c:v>0.22388059701400001</c:v>
                </c:pt>
                <c:pt idx="352">
                  <c:v>0.27500000000000002</c:v>
                </c:pt>
                <c:pt idx="353">
                  <c:v>0.357142857142</c:v>
                </c:pt>
                <c:pt idx="354">
                  <c:v>0.32386363636299997</c:v>
                </c:pt>
                <c:pt idx="355">
                  <c:v>0.247933884297</c:v>
                </c:pt>
                <c:pt idx="356">
                  <c:v>0.284403669724</c:v>
                </c:pt>
                <c:pt idx="357">
                  <c:v>0.23529411764700001</c:v>
                </c:pt>
                <c:pt idx="358">
                  <c:v>0.25</c:v>
                </c:pt>
                <c:pt idx="359">
                  <c:v>0.21951219512100001</c:v>
                </c:pt>
                <c:pt idx="360">
                  <c:v>0.24</c:v>
                </c:pt>
                <c:pt idx="361">
                  <c:v>0.31578947368400001</c:v>
                </c:pt>
                <c:pt idx="362">
                  <c:v>0.27777777777700002</c:v>
                </c:pt>
                <c:pt idx="363">
                  <c:v>0.443298969072</c:v>
                </c:pt>
                <c:pt idx="364">
                  <c:v>0.43243243243200002</c:v>
                </c:pt>
                <c:pt idx="365">
                  <c:v>0.52631578947299995</c:v>
                </c:pt>
                <c:pt idx="366">
                  <c:v>0.181818181818</c:v>
                </c:pt>
                <c:pt idx="367">
                  <c:v>0.30370370370299998</c:v>
                </c:pt>
                <c:pt idx="368">
                  <c:v>0.35114503816699999</c:v>
                </c:pt>
                <c:pt idx="369">
                  <c:v>0.31468531468499999</c:v>
                </c:pt>
                <c:pt idx="370">
                  <c:v>0.20645161290299999</c:v>
                </c:pt>
                <c:pt idx="371">
                  <c:v>0.170212765957</c:v>
                </c:pt>
                <c:pt idx="372">
                  <c:v>0.33333333333300003</c:v>
                </c:pt>
                <c:pt idx="373">
                  <c:v>6.6666666666000005E-2</c:v>
                </c:pt>
                <c:pt idx="374">
                  <c:v>0.226086956521</c:v>
                </c:pt>
                <c:pt idx="375">
                  <c:v>0.32885906040200003</c:v>
                </c:pt>
                <c:pt idx="376">
                  <c:v>0.37820512820500002</c:v>
                </c:pt>
                <c:pt idx="377">
                  <c:v>0.43410852713100001</c:v>
                </c:pt>
                <c:pt idx="378">
                  <c:v>0.35897435897399999</c:v>
                </c:pt>
                <c:pt idx="379">
                  <c:v>0.40178571428499998</c:v>
                </c:pt>
                <c:pt idx="380">
                  <c:v>0.355932203389</c:v>
                </c:pt>
                <c:pt idx="381">
                  <c:v>0.32034632034600002</c:v>
                </c:pt>
                <c:pt idx="382">
                  <c:v>0.53398058252400005</c:v>
                </c:pt>
                <c:pt idx="383">
                  <c:v>0.50902527075799997</c:v>
                </c:pt>
                <c:pt idx="384">
                  <c:v>0.602888086642</c:v>
                </c:pt>
                <c:pt idx="385">
                  <c:v>0.55629139072800005</c:v>
                </c:pt>
                <c:pt idx="386">
                  <c:v>0.53846153846099998</c:v>
                </c:pt>
                <c:pt idx="387">
                  <c:v>0.42424242424199998</c:v>
                </c:pt>
                <c:pt idx="388">
                  <c:v>0.555921052631</c:v>
                </c:pt>
                <c:pt idx="389">
                  <c:v>0.69431279620800002</c:v>
                </c:pt>
                <c:pt idx="390">
                  <c:v>0.61122661122599997</c:v>
                </c:pt>
                <c:pt idx="391">
                  <c:v>0.64893617021200001</c:v>
                </c:pt>
                <c:pt idx="392">
                  <c:v>0.61304347826000005</c:v>
                </c:pt>
                <c:pt idx="393">
                  <c:v>0.59016393442600001</c:v>
                </c:pt>
                <c:pt idx="394">
                  <c:v>0.59663865546200001</c:v>
                </c:pt>
                <c:pt idx="395">
                  <c:v>0.60869565217300003</c:v>
                </c:pt>
                <c:pt idx="396">
                  <c:v>0.63955637707900004</c:v>
                </c:pt>
                <c:pt idx="397">
                  <c:v>0.65173116089600003</c:v>
                </c:pt>
                <c:pt idx="398">
                  <c:v>0.58846153846100002</c:v>
                </c:pt>
                <c:pt idx="399">
                  <c:v>0.56082474226800005</c:v>
                </c:pt>
                <c:pt idx="400">
                  <c:v>0.64356435643499998</c:v>
                </c:pt>
                <c:pt idx="401">
                  <c:v>0.51685393258400003</c:v>
                </c:pt>
                <c:pt idx="402">
                  <c:v>0.56603773584899997</c:v>
                </c:pt>
                <c:pt idx="403">
                  <c:v>0.62962962962900004</c:v>
                </c:pt>
                <c:pt idx="404">
                  <c:v>0.62046204620400003</c:v>
                </c:pt>
                <c:pt idx="405">
                  <c:v>0.58823529411700004</c:v>
                </c:pt>
                <c:pt idx="406">
                  <c:v>0.60727272727199999</c:v>
                </c:pt>
                <c:pt idx="407">
                  <c:v>0.58653846153800004</c:v>
                </c:pt>
                <c:pt idx="408">
                  <c:v>0.39743589743500002</c:v>
                </c:pt>
                <c:pt idx="409">
                  <c:v>0.56872037914600004</c:v>
                </c:pt>
                <c:pt idx="410">
                  <c:v>0.65045592705099997</c:v>
                </c:pt>
                <c:pt idx="411">
                  <c:v>0.60392156862699997</c:v>
                </c:pt>
                <c:pt idx="412">
                  <c:v>0.44059405940500002</c:v>
                </c:pt>
                <c:pt idx="413">
                  <c:v>0.52830188679199996</c:v>
                </c:pt>
                <c:pt idx="414">
                  <c:v>0.60759493670800002</c:v>
                </c:pt>
                <c:pt idx="415">
                  <c:v>0.444444444444</c:v>
                </c:pt>
                <c:pt idx="416">
                  <c:v>0.53529411764699997</c:v>
                </c:pt>
                <c:pt idx="417">
                  <c:v>0.557312252964</c:v>
                </c:pt>
                <c:pt idx="418">
                  <c:v>0.50609756097500003</c:v>
                </c:pt>
                <c:pt idx="419">
                  <c:v>0.49166666666600001</c:v>
                </c:pt>
                <c:pt idx="420">
                  <c:v>0.5</c:v>
                </c:pt>
                <c:pt idx="421">
                  <c:v>0.45901639344200001</c:v>
                </c:pt>
                <c:pt idx="422">
                  <c:v>0.428571428571</c:v>
                </c:pt>
                <c:pt idx="423">
                  <c:v>0.553719008264</c:v>
                </c:pt>
                <c:pt idx="424">
                  <c:v>0.489208633093</c:v>
                </c:pt>
                <c:pt idx="425">
                  <c:v>0.48484848484800003</c:v>
                </c:pt>
                <c:pt idx="426">
                  <c:v>0.39473684210499999</c:v>
                </c:pt>
                <c:pt idx="427">
                  <c:v>0.39495798319300002</c:v>
                </c:pt>
                <c:pt idx="428">
                  <c:v>0.38775510204000002</c:v>
                </c:pt>
                <c:pt idx="429">
                  <c:v>0.4</c:v>
                </c:pt>
                <c:pt idx="430">
                  <c:v>0.35338345864600001</c:v>
                </c:pt>
                <c:pt idx="431">
                  <c:v>0.49624060150299998</c:v>
                </c:pt>
                <c:pt idx="432">
                  <c:v>0.46456692913300002</c:v>
                </c:pt>
                <c:pt idx="433">
                  <c:v>0.42105263157799999</c:v>
                </c:pt>
                <c:pt idx="434">
                  <c:v>0.401408450704</c:v>
                </c:pt>
                <c:pt idx="435">
                  <c:v>0.34615384615299999</c:v>
                </c:pt>
                <c:pt idx="436">
                  <c:v>0.23333333333299999</c:v>
                </c:pt>
                <c:pt idx="437">
                  <c:v>0.36945812807799999</c:v>
                </c:pt>
                <c:pt idx="438">
                  <c:v>0.376344086021</c:v>
                </c:pt>
                <c:pt idx="439">
                  <c:v>0.38509316770099999</c:v>
                </c:pt>
                <c:pt idx="440">
                  <c:v>0.43225806451600002</c:v>
                </c:pt>
                <c:pt idx="441">
                  <c:v>0.42487046632100001</c:v>
                </c:pt>
                <c:pt idx="442">
                  <c:v>0.24358974358900001</c:v>
                </c:pt>
                <c:pt idx="443">
                  <c:v>0.26666666666599997</c:v>
                </c:pt>
                <c:pt idx="444">
                  <c:v>0.36559139784900002</c:v>
                </c:pt>
                <c:pt idx="445">
                  <c:v>0.38916256157599999</c:v>
                </c:pt>
                <c:pt idx="446">
                  <c:v>0.31638418079000002</c:v>
                </c:pt>
                <c:pt idx="447">
                  <c:v>0.45890410958900002</c:v>
                </c:pt>
                <c:pt idx="448">
                  <c:v>0.39393939393900002</c:v>
                </c:pt>
                <c:pt idx="449">
                  <c:v>0.23809523809499999</c:v>
                </c:pt>
                <c:pt idx="450">
                  <c:v>0.265306122448</c:v>
                </c:pt>
                <c:pt idx="451">
                  <c:v>0.32258064516099999</c:v>
                </c:pt>
                <c:pt idx="452">
                  <c:v>0.32777777777700001</c:v>
                </c:pt>
                <c:pt idx="453">
                  <c:v>0.23589743589699999</c:v>
                </c:pt>
                <c:pt idx="454">
                  <c:v>0.35294117647000001</c:v>
                </c:pt>
                <c:pt idx="455">
                  <c:v>0.274509803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7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1:$A$538</c:f>
              <c:numCache>
                <c:formatCode>m/d/yyyy</c:formatCode>
                <c:ptCount val="538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  <c:pt idx="102">
                  <c:v>44299</c:v>
                </c:pt>
                <c:pt idx="103">
                  <c:v>44300</c:v>
                </c:pt>
                <c:pt idx="104">
                  <c:v>44301</c:v>
                </c:pt>
                <c:pt idx="105">
                  <c:v>44302</c:v>
                </c:pt>
                <c:pt idx="106">
                  <c:v>44303</c:v>
                </c:pt>
                <c:pt idx="107">
                  <c:v>44304</c:v>
                </c:pt>
                <c:pt idx="108">
                  <c:v>44305</c:v>
                </c:pt>
                <c:pt idx="109">
                  <c:v>44306</c:v>
                </c:pt>
                <c:pt idx="110">
                  <c:v>44307</c:v>
                </c:pt>
                <c:pt idx="111">
                  <c:v>44308</c:v>
                </c:pt>
                <c:pt idx="112">
                  <c:v>44309</c:v>
                </c:pt>
                <c:pt idx="113">
                  <c:v>44310</c:v>
                </c:pt>
                <c:pt idx="114">
                  <c:v>44311</c:v>
                </c:pt>
                <c:pt idx="115">
                  <c:v>44312</c:v>
                </c:pt>
                <c:pt idx="116">
                  <c:v>44313</c:v>
                </c:pt>
                <c:pt idx="117">
                  <c:v>44314</c:v>
                </c:pt>
                <c:pt idx="118">
                  <c:v>44315</c:v>
                </c:pt>
                <c:pt idx="119">
                  <c:v>44316</c:v>
                </c:pt>
                <c:pt idx="120">
                  <c:v>44317</c:v>
                </c:pt>
                <c:pt idx="121">
                  <c:v>44318</c:v>
                </c:pt>
                <c:pt idx="122">
                  <c:v>44319</c:v>
                </c:pt>
                <c:pt idx="123">
                  <c:v>44320</c:v>
                </c:pt>
                <c:pt idx="124">
                  <c:v>44321</c:v>
                </c:pt>
                <c:pt idx="125">
                  <c:v>44322</c:v>
                </c:pt>
                <c:pt idx="126">
                  <c:v>44323</c:v>
                </c:pt>
                <c:pt idx="127">
                  <c:v>44324</c:v>
                </c:pt>
                <c:pt idx="128">
                  <c:v>44325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1</c:v>
                </c:pt>
                <c:pt idx="135">
                  <c:v>44332</c:v>
                </c:pt>
                <c:pt idx="136">
                  <c:v>44333</c:v>
                </c:pt>
                <c:pt idx="137">
                  <c:v>44334</c:v>
                </c:pt>
                <c:pt idx="138">
                  <c:v>44335</c:v>
                </c:pt>
                <c:pt idx="139">
                  <c:v>44336</c:v>
                </c:pt>
                <c:pt idx="140">
                  <c:v>44337</c:v>
                </c:pt>
                <c:pt idx="141">
                  <c:v>44338</c:v>
                </c:pt>
                <c:pt idx="142">
                  <c:v>44339</c:v>
                </c:pt>
                <c:pt idx="143">
                  <c:v>44340</c:v>
                </c:pt>
                <c:pt idx="144">
                  <c:v>44341</c:v>
                </c:pt>
                <c:pt idx="145">
                  <c:v>44342</c:v>
                </c:pt>
                <c:pt idx="146">
                  <c:v>44343</c:v>
                </c:pt>
                <c:pt idx="147">
                  <c:v>44344</c:v>
                </c:pt>
                <c:pt idx="148">
                  <c:v>44345</c:v>
                </c:pt>
                <c:pt idx="149">
                  <c:v>44346</c:v>
                </c:pt>
                <c:pt idx="150">
                  <c:v>44347</c:v>
                </c:pt>
                <c:pt idx="151">
                  <c:v>44348</c:v>
                </c:pt>
                <c:pt idx="152">
                  <c:v>44349</c:v>
                </c:pt>
                <c:pt idx="153">
                  <c:v>44350</c:v>
                </c:pt>
                <c:pt idx="154">
                  <c:v>44351</c:v>
                </c:pt>
                <c:pt idx="155">
                  <c:v>44352</c:v>
                </c:pt>
                <c:pt idx="156">
                  <c:v>44353</c:v>
                </c:pt>
                <c:pt idx="157">
                  <c:v>44354</c:v>
                </c:pt>
                <c:pt idx="158">
                  <c:v>44355</c:v>
                </c:pt>
                <c:pt idx="159">
                  <c:v>44356</c:v>
                </c:pt>
                <c:pt idx="160">
                  <c:v>44357</c:v>
                </c:pt>
                <c:pt idx="161">
                  <c:v>44358</c:v>
                </c:pt>
                <c:pt idx="162">
                  <c:v>44359</c:v>
                </c:pt>
                <c:pt idx="163">
                  <c:v>44360</c:v>
                </c:pt>
                <c:pt idx="164">
                  <c:v>44361</c:v>
                </c:pt>
                <c:pt idx="165">
                  <c:v>44362</c:v>
                </c:pt>
                <c:pt idx="166">
                  <c:v>44363</c:v>
                </c:pt>
                <c:pt idx="167">
                  <c:v>44364</c:v>
                </c:pt>
                <c:pt idx="168">
                  <c:v>44365</c:v>
                </c:pt>
                <c:pt idx="169">
                  <c:v>44366</c:v>
                </c:pt>
                <c:pt idx="170">
                  <c:v>44367</c:v>
                </c:pt>
                <c:pt idx="171">
                  <c:v>44368</c:v>
                </c:pt>
                <c:pt idx="172">
                  <c:v>44369</c:v>
                </c:pt>
                <c:pt idx="173">
                  <c:v>44370</c:v>
                </c:pt>
                <c:pt idx="174">
                  <c:v>44371</c:v>
                </c:pt>
                <c:pt idx="175">
                  <c:v>44372</c:v>
                </c:pt>
                <c:pt idx="176">
                  <c:v>44373</c:v>
                </c:pt>
                <c:pt idx="177">
                  <c:v>44374</c:v>
                </c:pt>
                <c:pt idx="178">
                  <c:v>44375</c:v>
                </c:pt>
                <c:pt idx="179">
                  <c:v>44376</c:v>
                </c:pt>
                <c:pt idx="180">
                  <c:v>44377</c:v>
                </c:pt>
                <c:pt idx="181">
                  <c:v>44378</c:v>
                </c:pt>
                <c:pt idx="182">
                  <c:v>44379</c:v>
                </c:pt>
                <c:pt idx="183">
                  <c:v>44380</c:v>
                </c:pt>
                <c:pt idx="184">
                  <c:v>44381</c:v>
                </c:pt>
                <c:pt idx="185">
                  <c:v>44382</c:v>
                </c:pt>
                <c:pt idx="186">
                  <c:v>44383</c:v>
                </c:pt>
                <c:pt idx="187">
                  <c:v>44384</c:v>
                </c:pt>
                <c:pt idx="188">
                  <c:v>44385</c:v>
                </c:pt>
                <c:pt idx="189">
                  <c:v>44386</c:v>
                </c:pt>
                <c:pt idx="190">
                  <c:v>44387</c:v>
                </c:pt>
                <c:pt idx="191">
                  <c:v>44388</c:v>
                </c:pt>
                <c:pt idx="192">
                  <c:v>44389</c:v>
                </c:pt>
                <c:pt idx="193">
                  <c:v>44390</c:v>
                </c:pt>
                <c:pt idx="194">
                  <c:v>44391</c:v>
                </c:pt>
                <c:pt idx="195">
                  <c:v>44392</c:v>
                </c:pt>
                <c:pt idx="196">
                  <c:v>44393</c:v>
                </c:pt>
                <c:pt idx="197">
                  <c:v>44394</c:v>
                </c:pt>
                <c:pt idx="198">
                  <c:v>44395</c:v>
                </c:pt>
                <c:pt idx="199">
                  <c:v>44396</c:v>
                </c:pt>
                <c:pt idx="200">
                  <c:v>44397</c:v>
                </c:pt>
                <c:pt idx="201">
                  <c:v>44398</c:v>
                </c:pt>
                <c:pt idx="202">
                  <c:v>44399</c:v>
                </c:pt>
                <c:pt idx="203">
                  <c:v>44400</c:v>
                </c:pt>
                <c:pt idx="204">
                  <c:v>44401</c:v>
                </c:pt>
                <c:pt idx="205">
                  <c:v>44402</c:v>
                </c:pt>
                <c:pt idx="206">
                  <c:v>44403</c:v>
                </c:pt>
                <c:pt idx="207">
                  <c:v>44404</c:v>
                </c:pt>
                <c:pt idx="208">
                  <c:v>44405</c:v>
                </c:pt>
                <c:pt idx="209">
                  <c:v>44406</c:v>
                </c:pt>
                <c:pt idx="210">
                  <c:v>44407</c:v>
                </c:pt>
                <c:pt idx="211">
                  <c:v>44408</c:v>
                </c:pt>
                <c:pt idx="212">
                  <c:v>44409</c:v>
                </c:pt>
                <c:pt idx="213">
                  <c:v>44410</c:v>
                </c:pt>
                <c:pt idx="214">
                  <c:v>44411</c:v>
                </c:pt>
                <c:pt idx="215">
                  <c:v>44412</c:v>
                </c:pt>
                <c:pt idx="216">
                  <c:v>44413</c:v>
                </c:pt>
                <c:pt idx="217">
                  <c:v>44414</c:v>
                </c:pt>
                <c:pt idx="218">
                  <c:v>44415</c:v>
                </c:pt>
                <c:pt idx="219">
                  <c:v>44416</c:v>
                </c:pt>
                <c:pt idx="220">
                  <c:v>44417</c:v>
                </c:pt>
                <c:pt idx="221">
                  <c:v>44418</c:v>
                </c:pt>
                <c:pt idx="222">
                  <c:v>44419</c:v>
                </c:pt>
                <c:pt idx="223">
                  <c:v>44420</c:v>
                </c:pt>
                <c:pt idx="224">
                  <c:v>44421</c:v>
                </c:pt>
                <c:pt idx="225">
                  <c:v>44422</c:v>
                </c:pt>
                <c:pt idx="226">
                  <c:v>44423</c:v>
                </c:pt>
                <c:pt idx="227">
                  <c:v>44424</c:v>
                </c:pt>
                <c:pt idx="228">
                  <c:v>44425</c:v>
                </c:pt>
                <c:pt idx="229">
                  <c:v>44426</c:v>
                </c:pt>
                <c:pt idx="230">
                  <c:v>44427</c:v>
                </c:pt>
                <c:pt idx="231">
                  <c:v>44428</c:v>
                </c:pt>
                <c:pt idx="232">
                  <c:v>44429</c:v>
                </c:pt>
                <c:pt idx="233">
                  <c:v>44430</c:v>
                </c:pt>
                <c:pt idx="234">
                  <c:v>44431</c:v>
                </c:pt>
                <c:pt idx="235">
                  <c:v>44432</c:v>
                </c:pt>
                <c:pt idx="236">
                  <c:v>44433</c:v>
                </c:pt>
                <c:pt idx="237">
                  <c:v>44434</c:v>
                </c:pt>
                <c:pt idx="238">
                  <c:v>44435</c:v>
                </c:pt>
                <c:pt idx="239">
                  <c:v>44436</c:v>
                </c:pt>
                <c:pt idx="240">
                  <c:v>44437</c:v>
                </c:pt>
                <c:pt idx="241">
                  <c:v>44438</c:v>
                </c:pt>
                <c:pt idx="242">
                  <c:v>44439</c:v>
                </c:pt>
                <c:pt idx="243">
                  <c:v>44440</c:v>
                </c:pt>
                <c:pt idx="244">
                  <c:v>44441</c:v>
                </c:pt>
                <c:pt idx="245">
                  <c:v>44442</c:v>
                </c:pt>
                <c:pt idx="246">
                  <c:v>44443</c:v>
                </c:pt>
                <c:pt idx="247">
                  <c:v>44444</c:v>
                </c:pt>
                <c:pt idx="248">
                  <c:v>44445</c:v>
                </c:pt>
                <c:pt idx="249">
                  <c:v>44446</c:v>
                </c:pt>
                <c:pt idx="250">
                  <c:v>44447</c:v>
                </c:pt>
                <c:pt idx="251">
                  <c:v>44448</c:v>
                </c:pt>
                <c:pt idx="252">
                  <c:v>44449</c:v>
                </c:pt>
                <c:pt idx="253">
                  <c:v>44450</c:v>
                </c:pt>
                <c:pt idx="254">
                  <c:v>44451</c:v>
                </c:pt>
                <c:pt idx="255">
                  <c:v>44452</c:v>
                </c:pt>
                <c:pt idx="256">
                  <c:v>44453</c:v>
                </c:pt>
                <c:pt idx="257">
                  <c:v>44454</c:v>
                </c:pt>
                <c:pt idx="258">
                  <c:v>44455</c:v>
                </c:pt>
                <c:pt idx="259">
                  <c:v>44456</c:v>
                </c:pt>
                <c:pt idx="260">
                  <c:v>44457</c:v>
                </c:pt>
                <c:pt idx="261">
                  <c:v>44458</c:v>
                </c:pt>
                <c:pt idx="262">
                  <c:v>44459</c:v>
                </c:pt>
                <c:pt idx="263">
                  <c:v>44460</c:v>
                </c:pt>
                <c:pt idx="264">
                  <c:v>44461</c:v>
                </c:pt>
                <c:pt idx="265">
                  <c:v>44462</c:v>
                </c:pt>
                <c:pt idx="266">
                  <c:v>44463</c:v>
                </c:pt>
                <c:pt idx="267">
                  <c:v>44464</c:v>
                </c:pt>
                <c:pt idx="268">
                  <c:v>44465</c:v>
                </c:pt>
                <c:pt idx="269">
                  <c:v>44466</c:v>
                </c:pt>
                <c:pt idx="270">
                  <c:v>44467</c:v>
                </c:pt>
                <c:pt idx="271">
                  <c:v>44468</c:v>
                </c:pt>
                <c:pt idx="272">
                  <c:v>44469</c:v>
                </c:pt>
                <c:pt idx="273">
                  <c:v>44470</c:v>
                </c:pt>
                <c:pt idx="274">
                  <c:v>44471</c:v>
                </c:pt>
                <c:pt idx="275">
                  <c:v>44472</c:v>
                </c:pt>
                <c:pt idx="276">
                  <c:v>44473</c:v>
                </c:pt>
                <c:pt idx="277">
                  <c:v>44474</c:v>
                </c:pt>
                <c:pt idx="278">
                  <c:v>44475</c:v>
                </c:pt>
                <c:pt idx="279">
                  <c:v>44476</c:v>
                </c:pt>
                <c:pt idx="280">
                  <c:v>44477</c:v>
                </c:pt>
                <c:pt idx="281">
                  <c:v>44478</c:v>
                </c:pt>
                <c:pt idx="282">
                  <c:v>44479</c:v>
                </c:pt>
                <c:pt idx="283">
                  <c:v>44480</c:v>
                </c:pt>
                <c:pt idx="284">
                  <c:v>44481</c:v>
                </c:pt>
                <c:pt idx="285">
                  <c:v>44482</c:v>
                </c:pt>
                <c:pt idx="286">
                  <c:v>44483</c:v>
                </c:pt>
                <c:pt idx="287">
                  <c:v>44484</c:v>
                </c:pt>
                <c:pt idx="288">
                  <c:v>44485</c:v>
                </c:pt>
                <c:pt idx="289">
                  <c:v>44486</c:v>
                </c:pt>
                <c:pt idx="290">
                  <c:v>44487</c:v>
                </c:pt>
                <c:pt idx="291">
                  <c:v>44488</c:v>
                </c:pt>
                <c:pt idx="292">
                  <c:v>44489</c:v>
                </c:pt>
                <c:pt idx="293">
                  <c:v>44490</c:v>
                </c:pt>
                <c:pt idx="294">
                  <c:v>44491</c:v>
                </c:pt>
                <c:pt idx="295">
                  <c:v>44492</c:v>
                </c:pt>
                <c:pt idx="296">
                  <c:v>44493</c:v>
                </c:pt>
                <c:pt idx="297">
                  <c:v>44494</c:v>
                </c:pt>
                <c:pt idx="298">
                  <c:v>44495</c:v>
                </c:pt>
                <c:pt idx="299">
                  <c:v>44496</c:v>
                </c:pt>
                <c:pt idx="300">
                  <c:v>44497</c:v>
                </c:pt>
                <c:pt idx="301">
                  <c:v>44498</c:v>
                </c:pt>
                <c:pt idx="302">
                  <c:v>44499</c:v>
                </c:pt>
                <c:pt idx="303">
                  <c:v>44500</c:v>
                </c:pt>
                <c:pt idx="304">
                  <c:v>44501</c:v>
                </c:pt>
                <c:pt idx="305">
                  <c:v>44502</c:v>
                </c:pt>
                <c:pt idx="306">
                  <c:v>44503</c:v>
                </c:pt>
                <c:pt idx="307">
                  <c:v>44504</c:v>
                </c:pt>
                <c:pt idx="308">
                  <c:v>44505</c:v>
                </c:pt>
                <c:pt idx="309">
                  <c:v>44506</c:v>
                </c:pt>
                <c:pt idx="310">
                  <c:v>44507</c:v>
                </c:pt>
                <c:pt idx="311">
                  <c:v>44508</c:v>
                </c:pt>
                <c:pt idx="312">
                  <c:v>44509</c:v>
                </c:pt>
                <c:pt idx="313">
                  <c:v>44510</c:v>
                </c:pt>
                <c:pt idx="314">
                  <c:v>44511</c:v>
                </c:pt>
                <c:pt idx="315">
                  <c:v>44512</c:v>
                </c:pt>
                <c:pt idx="316">
                  <c:v>44513</c:v>
                </c:pt>
                <c:pt idx="317">
                  <c:v>44514</c:v>
                </c:pt>
                <c:pt idx="318">
                  <c:v>44515</c:v>
                </c:pt>
                <c:pt idx="319">
                  <c:v>44516</c:v>
                </c:pt>
                <c:pt idx="320">
                  <c:v>44517</c:v>
                </c:pt>
                <c:pt idx="321">
                  <c:v>44518</c:v>
                </c:pt>
                <c:pt idx="322">
                  <c:v>44519</c:v>
                </c:pt>
                <c:pt idx="323">
                  <c:v>44520</c:v>
                </c:pt>
                <c:pt idx="324">
                  <c:v>44521</c:v>
                </c:pt>
                <c:pt idx="325">
                  <c:v>44522</c:v>
                </c:pt>
                <c:pt idx="326">
                  <c:v>44523</c:v>
                </c:pt>
                <c:pt idx="327">
                  <c:v>44524</c:v>
                </c:pt>
                <c:pt idx="328">
                  <c:v>44525</c:v>
                </c:pt>
                <c:pt idx="329">
                  <c:v>44526</c:v>
                </c:pt>
                <c:pt idx="330">
                  <c:v>44527</c:v>
                </c:pt>
                <c:pt idx="331">
                  <c:v>44528</c:v>
                </c:pt>
                <c:pt idx="332">
                  <c:v>44529</c:v>
                </c:pt>
                <c:pt idx="333">
                  <c:v>44530</c:v>
                </c:pt>
                <c:pt idx="334">
                  <c:v>44531</c:v>
                </c:pt>
                <c:pt idx="335">
                  <c:v>44532</c:v>
                </c:pt>
                <c:pt idx="336">
                  <c:v>44533</c:v>
                </c:pt>
                <c:pt idx="337">
                  <c:v>44534</c:v>
                </c:pt>
                <c:pt idx="338">
                  <c:v>44535</c:v>
                </c:pt>
                <c:pt idx="339">
                  <c:v>44536</c:v>
                </c:pt>
                <c:pt idx="340">
                  <c:v>44537</c:v>
                </c:pt>
                <c:pt idx="341">
                  <c:v>44538</c:v>
                </c:pt>
                <c:pt idx="342">
                  <c:v>44539</c:v>
                </c:pt>
                <c:pt idx="343">
                  <c:v>44540</c:v>
                </c:pt>
                <c:pt idx="344">
                  <c:v>44541</c:v>
                </c:pt>
                <c:pt idx="345">
                  <c:v>44542</c:v>
                </c:pt>
                <c:pt idx="346">
                  <c:v>44543</c:v>
                </c:pt>
                <c:pt idx="347">
                  <c:v>44544</c:v>
                </c:pt>
                <c:pt idx="348">
                  <c:v>44545</c:v>
                </c:pt>
                <c:pt idx="349">
                  <c:v>44546</c:v>
                </c:pt>
                <c:pt idx="350">
                  <c:v>44547</c:v>
                </c:pt>
                <c:pt idx="351">
                  <c:v>44548</c:v>
                </c:pt>
                <c:pt idx="352">
                  <c:v>44549</c:v>
                </c:pt>
                <c:pt idx="353">
                  <c:v>44550</c:v>
                </c:pt>
                <c:pt idx="354">
                  <c:v>44551</c:v>
                </c:pt>
                <c:pt idx="355">
                  <c:v>44552</c:v>
                </c:pt>
                <c:pt idx="356">
                  <c:v>44553</c:v>
                </c:pt>
                <c:pt idx="357">
                  <c:v>44554</c:v>
                </c:pt>
                <c:pt idx="358">
                  <c:v>44555</c:v>
                </c:pt>
                <c:pt idx="359">
                  <c:v>44556</c:v>
                </c:pt>
                <c:pt idx="360">
                  <c:v>44557</c:v>
                </c:pt>
                <c:pt idx="361">
                  <c:v>44558</c:v>
                </c:pt>
                <c:pt idx="362">
                  <c:v>44559</c:v>
                </c:pt>
                <c:pt idx="363">
                  <c:v>44560</c:v>
                </c:pt>
                <c:pt idx="364">
                  <c:v>44561</c:v>
                </c:pt>
                <c:pt idx="365">
                  <c:v>44562</c:v>
                </c:pt>
                <c:pt idx="366">
                  <c:v>44563</c:v>
                </c:pt>
                <c:pt idx="367">
                  <c:v>44564</c:v>
                </c:pt>
                <c:pt idx="368">
                  <c:v>44565</c:v>
                </c:pt>
                <c:pt idx="369">
                  <c:v>44566</c:v>
                </c:pt>
                <c:pt idx="370">
                  <c:v>44567</c:v>
                </c:pt>
                <c:pt idx="371">
                  <c:v>44568</c:v>
                </c:pt>
                <c:pt idx="372">
                  <c:v>44569</c:v>
                </c:pt>
                <c:pt idx="373">
                  <c:v>44570</c:v>
                </c:pt>
                <c:pt idx="374">
                  <c:v>44571</c:v>
                </c:pt>
                <c:pt idx="375">
                  <c:v>44572</c:v>
                </c:pt>
                <c:pt idx="376">
                  <c:v>44573</c:v>
                </c:pt>
                <c:pt idx="377">
                  <c:v>44574</c:v>
                </c:pt>
                <c:pt idx="378">
                  <c:v>44575</c:v>
                </c:pt>
                <c:pt idx="379">
                  <c:v>44576</c:v>
                </c:pt>
                <c:pt idx="380">
                  <c:v>44577</c:v>
                </c:pt>
                <c:pt idx="381">
                  <c:v>44578</c:v>
                </c:pt>
                <c:pt idx="382">
                  <c:v>44579</c:v>
                </c:pt>
                <c:pt idx="383">
                  <c:v>44580</c:v>
                </c:pt>
                <c:pt idx="384">
                  <c:v>44581</c:v>
                </c:pt>
                <c:pt idx="385">
                  <c:v>44582</c:v>
                </c:pt>
                <c:pt idx="386">
                  <c:v>44583</c:v>
                </c:pt>
                <c:pt idx="387">
                  <c:v>44584</c:v>
                </c:pt>
                <c:pt idx="388">
                  <c:v>44585</c:v>
                </c:pt>
                <c:pt idx="389">
                  <c:v>44586</c:v>
                </c:pt>
                <c:pt idx="390">
                  <c:v>44587</c:v>
                </c:pt>
                <c:pt idx="391">
                  <c:v>44588</c:v>
                </c:pt>
                <c:pt idx="392">
                  <c:v>44589</c:v>
                </c:pt>
                <c:pt idx="393">
                  <c:v>44590</c:v>
                </c:pt>
                <c:pt idx="394">
                  <c:v>44591</c:v>
                </c:pt>
                <c:pt idx="395">
                  <c:v>44592</c:v>
                </c:pt>
                <c:pt idx="396">
                  <c:v>44593</c:v>
                </c:pt>
                <c:pt idx="397">
                  <c:v>44594</c:v>
                </c:pt>
                <c:pt idx="398">
                  <c:v>44595</c:v>
                </c:pt>
                <c:pt idx="399">
                  <c:v>44596</c:v>
                </c:pt>
                <c:pt idx="400">
                  <c:v>44597</c:v>
                </c:pt>
                <c:pt idx="401">
                  <c:v>44598</c:v>
                </c:pt>
                <c:pt idx="402">
                  <c:v>44599</c:v>
                </c:pt>
                <c:pt idx="403">
                  <c:v>44600</c:v>
                </c:pt>
                <c:pt idx="404">
                  <c:v>44601</c:v>
                </c:pt>
                <c:pt idx="405">
                  <c:v>44602</c:v>
                </c:pt>
                <c:pt idx="406">
                  <c:v>44603</c:v>
                </c:pt>
                <c:pt idx="407">
                  <c:v>44604</c:v>
                </c:pt>
                <c:pt idx="408">
                  <c:v>44605</c:v>
                </c:pt>
                <c:pt idx="409">
                  <c:v>44606</c:v>
                </c:pt>
                <c:pt idx="410">
                  <c:v>44607</c:v>
                </c:pt>
                <c:pt idx="411">
                  <c:v>44608</c:v>
                </c:pt>
                <c:pt idx="412">
                  <c:v>44609</c:v>
                </c:pt>
                <c:pt idx="413">
                  <c:v>44610</c:v>
                </c:pt>
                <c:pt idx="414">
                  <c:v>44611</c:v>
                </c:pt>
                <c:pt idx="415">
                  <c:v>44612</c:v>
                </c:pt>
                <c:pt idx="416">
                  <c:v>44613</c:v>
                </c:pt>
                <c:pt idx="417">
                  <c:v>44614</c:v>
                </c:pt>
                <c:pt idx="418">
                  <c:v>44615</c:v>
                </c:pt>
                <c:pt idx="419">
                  <c:v>44616</c:v>
                </c:pt>
                <c:pt idx="420">
                  <c:v>44617</c:v>
                </c:pt>
                <c:pt idx="421">
                  <c:v>44618</c:v>
                </c:pt>
                <c:pt idx="422">
                  <c:v>44619</c:v>
                </c:pt>
                <c:pt idx="423">
                  <c:v>44620</c:v>
                </c:pt>
                <c:pt idx="424">
                  <c:v>44621</c:v>
                </c:pt>
                <c:pt idx="425">
                  <c:v>44622</c:v>
                </c:pt>
                <c:pt idx="426">
                  <c:v>44623</c:v>
                </c:pt>
                <c:pt idx="427">
                  <c:v>44624</c:v>
                </c:pt>
                <c:pt idx="428">
                  <c:v>44625</c:v>
                </c:pt>
                <c:pt idx="429">
                  <c:v>44626</c:v>
                </c:pt>
                <c:pt idx="430">
                  <c:v>44627</c:v>
                </c:pt>
                <c:pt idx="431">
                  <c:v>44628</c:v>
                </c:pt>
                <c:pt idx="432">
                  <c:v>44629</c:v>
                </c:pt>
                <c:pt idx="433">
                  <c:v>44630</c:v>
                </c:pt>
                <c:pt idx="434">
                  <c:v>44631</c:v>
                </c:pt>
                <c:pt idx="435">
                  <c:v>44632</c:v>
                </c:pt>
                <c:pt idx="436">
                  <c:v>44633</c:v>
                </c:pt>
                <c:pt idx="437">
                  <c:v>44634</c:v>
                </c:pt>
                <c:pt idx="438">
                  <c:v>44635</c:v>
                </c:pt>
                <c:pt idx="439">
                  <c:v>44636</c:v>
                </c:pt>
                <c:pt idx="440">
                  <c:v>44637</c:v>
                </c:pt>
                <c:pt idx="441">
                  <c:v>44638</c:v>
                </c:pt>
                <c:pt idx="442">
                  <c:v>44639</c:v>
                </c:pt>
                <c:pt idx="443">
                  <c:v>44640</c:v>
                </c:pt>
                <c:pt idx="444">
                  <c:v>44641</c:v>
                </c:pt>
                <c:pt idx="445">
                  <c:v>44642</c:v>
                </c:pt>
                <c:pt idx="446">
                  <c:v>44643</c:v>
                </c:pt>
                <c:pt idx="447">
                  <c:v>44644</c:v>
                </c:pt>
                <c:pt idx="448">
                  <c:v>44645</c:v>
                </c:pt>
                <c:pt idx="449">
                  <c:v>44646</c:v>
                </c:pt>
                <c:pt idx="450">
                  <c:v>44647</c:v>
                </c:pt>
                <c:pt idx="451">
                  <c:v>44648</c:v>
                </c:pt>
                <c:pt idx="452">
                  <c:v>44649</c:v>
                </c:pt>
                <c:pt idx="453">
                  <c:v>44650</c:v>
                </c:pt>
                <c:pt idx="454">
                  <c:v>44651</c:v>
                </c:pt>
                <c:pt idx="455">
                  <c:v>44652</c:v>
                </c:pt>
                <c:pt idx="456">
                  <c:v>44561</c:v>
                </c:pt>
                <c:pt idx="457">
                  <c:v>44562</c:v>
                </c:pt>
                <c:pt idx="458">
                  <c:v>44563</c:v>
                </c:pt>
                <c:pt idx="459">
                  <c:v>44564</c:v>
                </c:pt>
                <c:pt idx="460">
                  <c:v>44565</c:v>
                </c:pt>
                <c:pt idx="461">
                  <c:v>44566</c:v>
                </c:pt>
                <c:pt idx="462">
                  <c:v>44567</c:v>
                </c:pt>
                <c:pt idx="463">
                  <c:v>44568</c:v>
                </c:pt>
                <c:pt idx="464">
                  <c:v>44569</c:v>
                </c:pt>
                <c:pt idx="465">
                  <c:v>44570</c:v>
                </c:pt>
                <c:pt idx="466">
                  <c:v>44571</c:v>
                </c:pt>
                <c:pt idx="467">
                  <c:v>44572</c:v>
                </c:pt>
                <c:pt idx="468">
                  <c:v>44573</c:v>
                </c:pt>
                <c:pt idx="469">
                  <c:v>44574</c:v>
                </c:pt>
                <c:pt idx="470">
                  <c:v>44575</c:v>
                </c:pt>
                <c:pt idx="471">
                  <c:v>44576</c:v>
                </c:pt>
                <c:pt idx="472">
                  <c:v>44577</c:v>
                </c:pt>
                <c:pt idx="473">
                  <c:v>44578</c:v>
                </c:pt>
                <c:pt idx="474">
                  <c:v>44579</c:v>
                </c:pt>
                <c:pt idx="475">
                  <c:v>44580</c:v>
                </c:pt>
                <c:pt idx="476">
                  <c:v>44581</c:v>
                </c:pt>
                <c:pt idx="477">
                  <c:v>44582</c:v>
                </c:pt>
                <c:pt idx="478">
                  <c:v>44583</c:v>
                </c:pt>
                <c:pt idx="479">
                  <c:v>44584</c:v>
                </c:pt>
                <c:pt idx="480">
                  <c:v>44585</c:v>
                </c:pt>
                <c:pt idx="481">
                  <c:v>44586</c:v>
                </c:pt>
                <c:pt idx="482">
                  <c:v>44587</c:v>
                </c:pt>
                <c:pt idx="483">
                  <c:v>44588</c:v>
                </c:pt>
                <c:pt idx="484">
                  <c:v>44589</c:v>
                </c:pt>
                <c:pt idx="485">
                  <c:v>44590</c:v>
                </c:pt>
                <c:pt idx="486">
                  <c:v>44591</c:v>
                </c:pt>
                <c:pt idx="487">
                  <c:v>44592</c:v>
                </c:pt>
                <c:pt idx="488">
                  <c:v>44593</c:v>
                </c:pt>
                <c:pt idx="489">
                  <c:v>44594</c:v>
                </c:pt>
                <c:pt idx="490">
                  <c:v>44595</c:v>
                </c:pt>
                <c:pt idx="491">
                  <c:v>44596</c:v>
                </c:pt>
                <c:pt idx="492">
                  <c:v>44597</c:v>
                </c:pt>
                <c:pt idx="493">
                  <c:v>44598</c:v>
                </c:pt>
                <c:pt idx="494">
                  <c:v>44599</c:v>
                </c:pt>
                <c:pt idx="495">
                  <c:v>44600</c:v>
                </c:pt>
                <c:pt idx="496">
                  <c:v>44601</c:v>
                </c:pt>
                <c:pt idx="497">
                  <c:v>44602</c:v>
                </c:pt>
                <c:pt idx="498">
                  <c:v>44603</c:v>
                </c:pt>
                <c:pt idx="499">
                  <c:v>44604</c:v>
                </c:pt>
                <c:pt idx="500">
                  <c:v>44605</c:v>
                </c:pt>
                <c:pt idx="501">
                  <c:v>44606</c:v>
                </c:pt>
                <c:pt idx="502">
                  <c:v>44607</c:v>
                </c:pt>
                <c:pt idx="503">
                  <c:v>44608</c:v>
                </c:pt>
                <c:pt idx="504">
                  <c:v>44609</c:v>
                </c:pt>
                <c:pt idx="505">
                  <c:v>44610</c:v>
                </c:pt>
                <c:pt idx="506">
                  <c:v>44611</c:v>
                </c:pt>
                <c:pt idx="507">
                  <c:v>44612</c:v>
                </c:pt>
                <c:pt idx="508">
                  <c:v>44613</c:v>
                </c:pt>
                <c:pt idx="509">
                  <c:v>44614</c:v>
                </c:pt>
                <c:pt idx="510">
                  <c:v>44615</c:v>
                </c:pt>
                <c:pt idx="511">
                  <c:v>44616</c:v>
                </c:pt>
                <c:pt idx="512">
                  <c:v>44617</c:v>
                </c:pt>
                <c:pt idx="513">
                  <c:v>44618</c:v>
                </c:pt>
                <c:pt idx="514">
                  <c:v>44619</c:v>
                </c:pt>
                <c:pt idx="515">
                  <c:v>44620</c:v>
                </c:pt>
                <c:pt idx="516">
                  <c:v>44621</c:v>
                </c:pt>
                <c:pt idx="517">
                  <c:v>44622</c:v>
                </c:pt>
                <c:pt idx="518">
                  <c:v>44623</c:v>
                </c:pt>
                <c:pt idx="519">
                  <c:v>44624</c:v>
                </c:pt>
                <c:pt idx="520">
                  <c:v>44625</c:v>
                </c:pt>
                <c:pt idx="521">
                  <c:v>44626</c:v>
                </c:pt>
                <c:pt idx="522">
                  <c:v>44627</c:v>
                </c:pt>
                <c:pt idx="523">
                  <c:v>44628</c:v>
                </c:pt>
                <c:pt idx="524">
                  <c:v>44629</c:v>
                </c:pt>
                <c:pt idx="525">
                  <c:v>44630</c:v>
                </c:pt>
                <c:pt idx="526">
                  <c:v>44631</c:v>
                </c:pt>
                <c:pt idx="527">
                  <c:v>44632</c:v>
                </c:pt>
                <c:pt idx="528">
                  <c:v>44633</c:v>
                </c:pt>
                <c:pt idx="529">
                  <c:v>44634</c:v>
                </c:pt>
                <c:pt idx="530">
                  <c:v>44635</c:v>
                </c:pt>
                <c:pt idx="531">
                  <c:v>44636</c:v>
                </c:pt>
                <c:pt idx="532">
                  <c:v>44637</c:v>
                </c:pt>
                <c:pt idx="533">
                  <c:v>44638</c:v>
                </c:pt>
                <c:pt idx="534">
                  <c:v>44639</c:v>
                </c:pt>
                <c:pt idx="535">
                  <c:v>44640</c:v>
                </c:pt>
                <c:pt idx="536">
                  <c:v>44641</c:v>
                </c:pt>
                <c:pt idx="537">
                  <c:v>44642</c:v>
                </c:pt>
              </c:numCache>
            </c:numRef>
          </c:cat>
          <c:val>
            <c:numRef>
              <c:f>Sheet1!$B$1:$B$538</c:f>
              <c:numCache>
                <c:formatCode>General</c:formatCode>
                <c:ptCount val="538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151515151515</c:v>
                </c:pt>
                <c:pt idx="4">
                  <c:v>0.204081632653</c:v>
                </c:pt>
                <c:pt idx="5">
                  <c:v>0.30434782608599997</c:v>
                </c:pt>
                <c:pt idx="6">
                  <c:v>0.29090909090900002</c:v>
                </c:pt>
                <c:pt idx="7">
                  <c:v>0.22641509433900001</c:v>
                </c:pt>
                <c:pt idx="8">
                  <c:v>0.21951219512100001</c:v>
                </c:pt>
                <c:pt idx="9">
                  <c:v>9.0909090908999998E-2</c:v>
                </c:pt>
                <c:pt idx="10">
                  <c:v>2.4096385541999998E-2</c:v>
                </c:pt>
                <c:pt idx="11">
                  <c:v>0.14912280701700001</c:v>
                </c:pt>
                <c:pt idx="12">
                  <c:v>0.15584415584399999</c:v>
                </c:pt>
                <c:pt idx="13">
                  <c:v>0.15</c:v>
                </c:pt>
                <c:pt idx="14">
                  <c:v>0.117647058823</c:v>
                </c:pt>
                <c:pt idx="15">
                  <c:v>0.17499999999999999</c:v>
                </c:pt>
                <c:pt idx="16">
                  <c:v>0.19047619047600001</c:v>
                </c:pt>
                <c:pt idx="17">
                  <c:v>0.109375</c:v>
                </c:pt>
                <c:pt idx="18">
                  <c:v>0.29069767441799998</c:v>
                </c:pt>
                <c:pt idx="19">
                  <c:v>0.27272727272699998</c:v>
                </c:pt>
                <c:pt idx="20">
                  <c:v>0.14285714285699999</c:v>
                </c:pt>
                <c:pt idx="21">
                  <c:v>0.21428571428500001</c:v>
                </c:pt>
                <c:pt idx="22">
                  <c:v>0.16279069767400001</c:v>
                </c:pt>
                <c:pt idx="23">
                  <c:v>0.22727272727200001</c:v>
                </c:pt>
                <c:pt idx="24">
                  <c:v>0.12962962962899999</c:v>
                </c:pt>
                <c:pt idx="25">
                  <c:v>0.10344827586200001</c:v>
                </c:pt>
                <c:pt idx="26">
                  <c:v>0.16304347826000001</c:v>
                </c:pt>
                <c:pt idx="27">
                  <c:v>0.176470588235</c:v>
                </c:pt>
                <c:pt idx="28">
                  <c:v>0.23188405797100001</c:v>
                </c:pt>
                <c:pt idx="29">
                  <c:v>0.136363636363</c:v>
                </c:pt>
                <c:pt idx="30">
                  <c:v>6.25E-2</c:v>
                </c:pt>
                <c:pt idx="31">
                  <c:v>9.1836734692999994E-2</c:v>
                </c:pt>
                <c:pt idx="32">
                  <c:v>0.21649484535999999</c:v>
                </c:pt>
                <c:pt idx="33">
                  <c:v>0.2</c:v>
                </c:pt>
                <c:pt idx="34">
                  <c:v>0.20289855072400001</c:v>
                </c:pt>
                <c:pt idx="35">
                  <c:v>0.26966292134800002</c:v>
                </c:pt>
                <c:pt idx="36">
                  <c:v>0.166666666666</c:v>
                </c:pt>
                <c:pt idx="37">
                  <c:v>0.181818181818</c:v>
                </c:pt>
                <c:pt idx="38">
                  <c:v>0.172727272727</c:v>
                </c:pt>
                <c:pt idx="39">
                  <c:v>0.19387755102000001</c:v>
                </c:pt>
                <c:pt idx="40">
                  <c:v>0.24691358024599999</c:v>
                </c:pt>
                <c:pt idx="41">
                  <c:v>0.211111111111</c:v>
                </c:pt>
                <c:pt idx="42">
                  <c:v>0.20952380952300001</c:v>
                </c:pt>
                <c:pt idx="43">
                  <c:v>0.265306122448</c:v>
                </c:pt>
                <c:pt idx="44">
                  <c:v>0.2</c:v>
                </c:pt>
                <c:pt idx="45">
                  <c:v>0.169491525423</c:v>
                </c:pt>
                <c:pt idx="46">
                  <c:v>0.30232558139499999</c:v>
                </c:pt>
                <c:pt idx="47">
                  <c:v>0.18796992481200001</c:v>
                </c:pt>
                <c:pt idx="48">
                  <c:v>0.175925925925</c:v>
                </c:pt>
                <c:pt idx="49">
                  <c:v>0.17692307692299999</c:v>
                </c:pt>
                <c:pt idx="50">
                  <c:v>0.25</c:v>
                </c:pt>
                <c:pt idx="51">
                  <c:v>0.166666666666</c:v>
                </c:pt>
                <c:pt idx="52">
                  <c:v>0.111111111111</c:v>
                </c:pt>
                <c:pt idx="53">
                  <c:v>0.213740458015</c:v>
                </c:pt>
                <c:pt idx="54">
                  <c:v>0.184931506849</c:v>
                </c:pt>
                <c:pt idx="55">
                  <c:v>0.166666666666</c:v>
                </c:pt>
                <c:pt idx="56">
                  <c:v>0.18604651162700001</c:v>
                </c:pt>
                <c:pt idx="57">
                  <c:v>0.245901639344</c:v>
                </c:pt>
                <c:pt idx="58">
                  <c:v>0.21818181818099999</c:v>
                </c:pt>
                <c:pt idx="59">
                  <c:v>0.22485207100499999</c:v>
                </c:pt>
                <c:pt idx="60">
                  <c:v>0.222222222222</c:v>
                </c:pt>
                <c:pt idx="61">
                  <c:v>0.194444444444</c:v>
                </c:pt>
                <c:pt idx="62">
                  <c:v>0.172566371681</c:v>
                </c:pt>
                <c:pt idx="63">
                  <c:v>0.12871287128700001</c:v>
                </c:pt>
                <c:pt idx="64">
                  <c:v>0.166666666666</c:v>
                </c:pt>
                <c:pt idx="65">
                  <c:v>9.6774193548000001E-2</c:v>
                </c:pt>
                <c:pt idx="66">
                  <c:v>0.103202846975</c:v>
                </c:pt>
                <c:pt idx="67">
                  <c:v>0.17210682492500001</c:v>
                </c:pt>
                <c:pt idx="68">
                  <c:v>0.15805471124600001</c:v>
                </c:pt>
                <c:pt idx="69">
                  <c:v>0.12631578947300001</c:v>
                </c:pt>
                <c:pt idx="70">
                  <c:v>0.124277456647</c:v>
                </c:pt>
                <c:pt idx="71">
                  <c:v>0.23364485981300001</c:v>
                </c:pt>
                <c:pt idx="72">
                  <c:v>0.19540229884999999</c:v>
                </c:pt>
                <c:pt idx="73">
                  <c:v>0.10242587601</c:v>
                </c:pt>
                <c:pt idx="74">
                  <c:v>0.11375661375600001</c:v>
                </c:pt>
                <c:pt idx="75">
                  <c:v>0.115501519756</c:v>
                </c:pt>
                <c:pt idx="76">
                  <c:v>8.3129584352000005E-2</c:v>
                </c:pt>
                <c:pt idx="77">
                  <c:v>0.12140575079800001</c:v>
                </c:pt>
                <c:pt idx="78">
                  <c:v>0.291666666666</c:v>
                </c:pt>
                <c:pt idx="79">
                  <c:v>0.166666666666</c:v>
                </c:pt>
                <c:pt idx="80">
                  <c:v>8.2901554404000002E-2</c:v>
                </c:pt>
                <c:pt idx="81">
                  <c:v>0.10081743869199999</c:v>
                </c:pt>
                <c:pt idx="82">
                  <c:v>6.7692307692000006E-2</c:v>
                </c:pt>
                <c:pt idx="83">
                  <c:v>6.5217391304000005E-2</c:v>
                </c:pt>
                <c:pt idx="84">
                  <c:v>8.1168831168E-2</c:v>
                </c:pt>
                <c:pt idx="85">
                  <c:v>0.18478260869499999</c:v>
                </c:pt>
                <c:pt idx="86">
                  <c:v>0.15217391304299999</c:v>
                </c:pt>
                <c:pt idx="87">
                  <c:v>6.6502463053999997E-2</c:v>
                </c:pt>
                <c:pt idx="88">
                  <c:v>6.7982456139999994E-2</c:v>
                </c:pt>
                <c:pt idx="89">
                  <c:v>4.8048048048000003E-2</c:v>
                </c:pt>
                <c:pt idx="90">
                  <c:v>4.4883303410999997E-2</c:v>
                </c:pt>
                <c:pt idx="91">
                  <c:v>4.8951048950999998E-2</c:v>
                </c:pt>
                <c:pt idx="92">
                  <c:v>5.9701492537000002E-2</c:v>
                </c:pt>
                <c:pt idx="93">
                  <c:v>8.7719298244999994E-2</c:v>
                </c:pt>
                <c:pt idx="94">
                  <c:v>6.5420560747000006E-2</c:v>
                </c:pt>
                <c:pt idx="95">
                  <c:v>4.8092868987999998E-2</c:v>
                </c:pt>
                <c:pt idx="96">
                  <c:v>5.8685446008999997E-2</c:v>
                </c:pt>
                <c:pt idx="97">
                  <c:v>4.2654028435999997E-2</c:v>
                </c:pt>
                <c:pt idx="98">
                  <c:v>4.7794117646999999E-2</c:v>
                </c:pt>
                <c:pt idx="99">
                  <c:v>0.122807017543</c:v>
                </c:pt>
                <c:pt idx="100">
                  <c:v>3.6585365852999999E-2</c:v>
                </c:pt>
                <c:pt idx="101">
                  <c:v>4.9886621314999997E-2</c:v>
                </c:pt>
                <c:pt idx="102">
                  <c:v>3.90625E-2</c:v>
                </c:pt>
                <c:pt idx="103">
                  <c:v>2.4691358024E-2</c:v>
                </c:pt>
                <c:pt idx="104">
                  <c:v>2.6809651473999999E-2</c:v>
                </c:pt>
                <c:pt idx="105">
                  <c:v>7.3170731707000003E-2</c:v>
                </c:pt>
                <c:pt idx="106">
                  <c:v>0.17948717948699999</c:v>
                </c:pt>
                <c:pt idx="107">
                  <c:v>3.8834951456000001E-2</c:v>
                </c:pt>
                <c:pt idx="108">
                  <c:v>2.5700934578999999E-2</c:v>
                </c:pt>
                <c:pt idx="109">
                  <c:v>5.0890585241E-2</c:v>
                </c:pt>
                <c:pt idx="110">
                  <c:v>1.5789473684000001E-2</c:v>
                </c:pt>
                <c:pt idx="111">
                  <c:v>3.8461538460999999E-2</c:v>
                </c:pt>
                <c:pt idx="112">
                  <c:v>1.9379844960999999E-2</c:v>
                </c:pt>
                <c:pt idx="113">
                  <c:v>3.5714285714000003E-2</c:v>
                </c:pt>
                <c:pt idx="114">
                  <c:v>4.2553191488999997E-2</c:v>
                </c:pt>
                <c:pt idx="115">
                  <c:v>2.6570048309000002E-2</c:v>
                </c:pt>
                <c:pt idx="116">
                  <c:v>4.3062200956000003E-2</c:v>
                </c:pt>
                <c:pt idx="117">
                  <c:v>3.9812646370000003E-2</c:v>
                </c:pt>
                <c:pt idx="118">
                  <c:v>1.7316017316E-2</c:v>
                </c:pt>
                <c:pt idx="119">
                  <c:v>2.6717557251000001E-2</c:v>
                </c:pt>
                <c:pt idx="120">
                  <c:v>8.6206896551000001E-2</c:v>
                </c:pt>
                <c:pt idx="121">
                  <c:v>8.2644628089999991E-3</c:v>
                </c:pt>
                <c:pt idx="122">
                  <c:v>8.4925690019999993E-3</c:v>
                </c:pt>
                <c:pt idx="123">
                  <c:v>3.5264483627E-2</c:v>
                </c:pt>
                <c:pt idx="124">
                  <c:v>1.9178082191E-2</c:v>
                </c:pt>
                <c:pt idx="125">
                  <c:v>1.2500000000000001E-2</c:v>
                </c:pt>
                <c:pt idx="126">
                  <c:v>3.0434782608000002E-2</c:v>
                </c:pt>
                <c:pt idx="127">
                  <c:v>6.5789473683999997E-2</c:v>
                </c:pt>
                <c:pt idx="128">
                  <c:v>7.3529411760000002E-3</c:v>
                </c:pt>
                <c:pt idx="129">
                  <c:v>4.0650406499999998E-3</c:v>
                </c:pt>
                <c:pt idx="130">
                  <c:v>1.0526315789E-2</c:v>
                </c:pt>
                <c:pt idx="131">
                  <c:v>7.653061224E-3</c:v>
                </c:pt>
                <c:pt idx="132">
                  <c:v>1.0256410256E-2</c:v>
                </c:pt>
                <c:pt idx="133">
                  <c:v>4.3478260859999996E-3</c:v>
                </c:pt>
                <c:pt idx="134">
                  <c:v>3.5714285714000003E-2</c:v>
                </c:pt>
                <c:pt idx="135">
                  <c:v>1.0989010989E-2</c:v>
                </c:pt>
                <c:pt idx="136">
                  <c:v>5.3191489359999998E-3</c:v>
                </c:pt>
                <c:pt idx="137">
                  <c:v>7.3800738000000003E-3</c:v>
                </c:pt>
                <c:pt idx="138">
                  <c:v>9.1324200909999997E-3</c:v>
                </c:pt>
                <c:pt idx="139">
                  <c:v>3.3333333329999999E-3</c:v>
                </c:pt>
                <c:pt idx="140">
                  <c:v>2.6525198929999998E-3</c:v>
                </c:pt>
                <c:pt idx="141">
                  <c:v>1.2987012987E-2</c:v>
                </c:pt>
                <c:pt idx="142">
                  <c:v>2.0202020202000001E-2</c:v>
                </c:pt>
                <c:pt idx="143">
                  <c:v>6.4724919089999998E-3</c:v>
                </c:pt>
                <c:pt idx="144">
                  <c:v>4.5977011489999999E-3</c:v>
                </c:pt>
                <c:pt idx="145">
                  <c:v>4.9504950490000003E-3</c:v>
                </c:pt>
                <c:pt idx="146">
                  <c:v>2.3201856139999999E-3</c:v>
                </c:pt>
                <c:pt idx="147">
                  <c:v>3.058103975E-3</c:v>
                </c:pt>
                <c:pt idx="148">
                  <c:v>1.3157894736E-2</c:v>
                </c:pt>
                <c:pt idx="149">
                  <c:v>0</c:v>
                </c:pt>
                <c:pt idx="150">
                  <c:v>1.7211703950000001E-3</c:v>
                </c:pt>
                <c:pt idx="151">
                  <c:v>6.0606060600000003E-3</c:v>
                </c:pt>
                <c:pt idx="152">
                  <c:v>2.5000000000000001E-3</c:v>
                </c:pt>
                <c:pt idx="153">
                  <c:v>0</c:v>
                </c:pt>
                <c:pt idx="154">
                  <c:v>0</c:v>
                </c:pt>
                <c:pt idx="155">
                  <c:v>9.5238095230000003E-3</c:v>
                </c:pt>
                <c:pt idx="156">
                  <c:v>5.1546391749999997E-3</c:v>
                </c:pt>
                <c:pt idx="157">
                  <c:v>0</c:v>
                </c:pt>
                <c:pt idx="158">
                  <c:v>5.1020408159999997E-3</c:v>
                </c:pt>
                <c:pt idx="159">
                  <c:v>2.3364485979999999E-3</c:v>
                </c:pt>
                <c:pt idx="160">
                  <c:v>2.202643171E-3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6.4239828690000004E-3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1.8552875690000001E-3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2.331002331E-3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4.6296296290000002E-3</c:v>
                </c:pt>
                <c:pt idx="180">
                  <c:v>1.0869565217000001E-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1.1494252873E-2</c:v>
                </c:pt>
                <c:pt idx="187">
                  <c:v>9.2592592590000009E-3</c:v>
                </c:pt>
                <c:pt idx="188">
                  <c:v>0</c:v>
                </c:pt>
                <c:pt idx="189">
                  <c:v>3.6900369000000001E-3</c:v>
                </c:pt>
                <c:pt idx="190">
                  <c:v>2.0979020979E-2</c:v>
                </c:pt>
                <c:pt idx="191">
                  <c:v>7.9365079360000004E-3</c:v>
                </c:pt>
                <c:pt idx="192">
                  <c:v>0.01</c:v>
                </c:pt>
                <c:pt idx="193">
                  <c:v>1.6304347826000001E-2</c:v>
                </c:pt>
                <c:pt idx="194">
                  <c:v>1.1560693641E-2</c:v>
                </c:pt>
                <c:pt idx="195">
                  <c:v>0</c:v>
                </c:pt>
                <c:pt idx="196">
                  <c:v>3.861003861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7.3260073260000003E-3</c:v>
                </c:pt>
                <c:pt idx="203">
                  <c:v>6.7796610160000001E-3</c:v>
                </c:pt>
                <c:pt idx="204">
                  <c:v>0</c:v>
                </c:pt>
                <c:pt idx="205">
                  <c:v>0</c:v>
                </c:pt>
                <c:pt idx="206">
                  <c:v>4.0322580640000001E-3</c:v>
                </c:pt>
                <c:pt idx="207">
                  <c:v>7.0422535210000001E-3</c:v>
                </c:pt>
                <c:pt idx="208">
                  <c:v>5.0761421310000004E-3</c:v>
                </c:pt>
                <c:pt idx="209">
                  <c:v>4.0322580640000001E-3</c:v>
                </c:pt>
                <c:pt idx="210">
                  <c:v>0</c:v>
                </c:pt>
                <c:pt idx="211">
                  <c:v>0</c:v>
                </c:pt>
                <c:pt idx="212">
                  <c:v>6.0606060600000003E-3</c:v>
                </c:pt>
                <c:pt idx="213">
                  <c:v>5.2910052909999998E-3</c:v>
                </c:pt>
                <c:pt idx="214">
                  <c:v>1.3157894736E-2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5.1282051279999998E-3</c:v>
                </c:pt>
                <c:pt idx="219">
                  <c:v>1.4285714285000001E-2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5.3763440859999996E-3</c:v>
                </c:pt>
                <c:pt idx="225">
                  <c:v>7.6335877860000002E-3</c:v>
                </c:pt>
                <c:pt idx="226">
                  <c:v>0</c:v>
                </c:pt>
                <c:pt idx="227">
                  <c:v>1.1320754715999999E-2</c:v>
                </c:pt>
                <c:pt idx="228">
                  <c:v>4.7169811319999998E-3</c:v>
                </c:pt>
                <c:pt idx="229">
                  <c:v>5.747126436E-3</c:v>
                </c:pt>
                <c:pt idx="230">
                  <c:v>4.329004329E-3</c:v>
                </c:pt>
                <c:pt idx="231">
                  <c:v>6.0422960719999997E-3</c:v>
                </c:pt>
                <c:pt idx="232">
                  <c:v>0</c:v>
                </c:pt>
                <c:pt idx="233">
                  <c:v>1.0204081631999999E-2</c:v>
                </c:pt>
                <c:pt idx="234">
                  <c:v>0</c:v>
                </c:pt>
                <c:pt idx="235">
                  <c:v>5.1020408159999997E-3</c:v>
                </c:pt>
                <c:pt idx="236">
                  <c:v>1.1111111111000001E-2</c:v>
                </c:pt>
                <c:pt idx="237">
                  <c:v>8.7719298239999997E-3</c:v>
                </c:pt>
                <c:pt idx="238">
                  <c:v>5.9701492530000004E-3</c:v>
                </c:pt>
                <c:pt idx="239">
                  <c:v>1.3157894736E-2</c:v>
                </c:pt>
                <c:pt idx="240">
                  <c:v>1.9867549668000001E-2</c:v>
                </c:pt>
                <c:pt idx="241">
                  <c:v>8.1632653060000008E-3</c:v>
                </c:pt>
                <c:pt idx="242">
                  <c:v>0</c:v>
                </c:pt>
                <c:pt idx="243">
                  <c:v>2.747252747E-3</c:v>
                </c:pt>
                <c:pt idx="244">
                  <c:v>7.0588235289999997E-3</c:v>
                </c:pt>
                <c:pt idx="245">
                  <c:v>1.7467248907999999E-2</c:v>
                </c:pt>
                <c:pt idx="246">
                  <c:v>1.5037593984E-2</c:v>
                </c:pt>
                <c:pt idx="247">
                  <c:v>0</c:v>
                </c:pt>
                <c:pt idx="248">
                  <c:v>2.5000000000000001E-3</c:v>
                </c:pt>
                <c:pt idx="249">
                  <c:v>1.2307692307E-2</c:v>
                </c:pt>
                <c:pt idx="250">
                  <c:v>8.0645161290000007E-3</c:v>
                </c:pt>
                <c:pt idx="251">
                  <c:v>9.0090090090000005E-3</c:v>
                </c:pt>
                <c:pt idx="252">
                  <c:v>4.9261083739999996E-3</c:v>
                </c:pt>
                <c:pt idx="253">
                  <c:v>0</c:v>
                </c:pt>
                <c:pt idx="254">
                  <c:v>3.9370078740000002E-2</c:v>
                </c:pt>
                <c:pt idx="255">
                  <c:v>1.5957446808E-2</c:v>
                </c:pt>
                <c:pt idx="256">
                  <c:v>5.3191489359999998E-3</c:v>
                </c:pt>
                <c:pt idx="257">
                  <c:v>3.0674846624999998E-2</c:v>
                </c:pt>
                <c:pt idx="258">
                  <c:v>4.7846889950000004E-3</c:v>
                </c:pt>
                <c:pt idx="259">
                  <c:v>1.4018691587999999E-2</c:v>
                </c:pt>
                <c:pt idx="260">
                  <c:v>6.3291139239999997E-3</c:v>
                </c:pt>
                <c:pt idx="261">
                  <c:v>8.0000000000000002E-3</c:v>
                </c:pt>
                <c:pt idx="262">
                  <c:v>0</c:v>
                </c:pt>
                <c:pt idx="263">
                  <c:v>3.6231884057000001E-2</c:v>
                </c:pt>
                <c:pt idx="264">
                  <c:v>5.0359712229999999E-2</c:v>
                </c:pt>
                <c:pt idx="265">
                  <c:v>2.3584905659999999E-2</c:v>
                </c:pt>
                <c:pt idx="266">
                  <c:v>1.3888888888E-2</c:v>
                </c:pt>
                <c:pt idx="267">
                  <c:v>5.1612903224999999E-2</c:v>
                </c:pt>
                <c:pt idx="268">
                  <c:v>1.7857142857000002E-2</c:v>
                </c:pt>
                <c:pt idx="269">
                  <c:v>4.4334975369000003E-2</c:v>
                </c:pt>
                <c:pt idx="270">
                  <c:v>4.1322314048999997E-2</c:v>
                </c:pt>
                <c:pt idx="271">
                  <c:v>4.7619047619000002E-2</c:v>
                </c:pt>
                <c:pt idx="272">
                  <c:v>1.4760147600999999E-2</c:v>
                </c:pt>
                <c:pt idx="273">
                  <c:v>3.6036036036000002E-2</c:v>
                </c:pt>
                <c:pt idx="274">
                  <c:v>8.0357142857000005E-2</c:v>
                </c:pt>
                <c:pt idx="275">
                  <c:v>2.1052631578000001E-2</c:v>
                </c:pt>
                <c:pt idx="276">
                  <c:v>3.0612244896999999E-2</c:v>
                </c:pt>
                <c:pt idx="277">
                  <c:v>4.4117647057999997E-2</c:v>
                </c:pt>
                <c:pt idx="278">
                  <c:v>4.3478260869000002E-2</c:v>
                </c:pt>
                <c:pt idx="279">
                  <c:v>4.1666666666000003E-2</c:v>
                </c:pt>
                <c:pt idx="280">
                  <c:v>3.3333333333000002E-2</c:v>
                </c:pt>
                <c:pt idx="281">
                  <c:v>7.6923076923000003E-2</c:v>
                </c:pt>
                <c:pt idx="282">
                  <c:v>0.04</c:v>
                </c:pt>
                <c:pt idx="283">
                  <c:v>5.8510638296999998E-2</c:v>
                </c:pt>
                <c:pt idx="284">
                  <c:v>6.25E-2</c:v>
                </c:pt>
                <c:pt idx="285">
                  <c:v>5.5E-2</c:v>
                </c:pt>
                <c:pt idx="286">
                  <c:v>3.7209302324999999E-2</c:v>
                </c:pt>
                <c:pt idx="287">
                  <c:v>5.5350553504999997E-2</c:v>
                </c:pt>
                <c:pt idx="288">
                  <c:v>5.1282051282000002E-2</c:v>
                </c:pt>
                <c:pt idx="289">
                  <c:v>5.6000000000000001E-2</c:v>
                </c:pt>
                <c:pt idx="290">
                  <c:v>8.4444444443999997E-2</c:v>
                </c:pt>
                <c:pt idx="291">
                  <c:v>0.120879120879</c:v>
                </c:pt>
                <c:pt idx="292">
                  <c:v>9.0047393364E-2</c:v>
                </c:pt>
                <c:pt idx="293">
                  <c:v>0.102564102564</c:v>
                </c:pt>
                <c:pt idx="294">
                  <c:v>5.5737704918000001E-2</c:v>
                </c:pt>
                <c:pt idx="295">
                  <c:v>8.2568807339000003E-2</c:v>
                </c:pt>
                <c:pt idx="296">
                  <c:v>5.3475935827999997E-2</c:v>
                </c:pt>
                <c:pt idx="297">
                  <c:v>8.4459459459000005E-2</c:v>
                </c:pt>
                <c:pt idx="298">
                  <c:v>7.8125E-2</c:v>
                </c:pt>
                <c:pt idx="299">
                  <c:v>7.3469387755000004E-2</c:v>
                </c:pt>
                <c:pt idx="300">
                  <c:v>4.9327354259999998E-2</c:v>
                </c:pt>
                <c:pt idx="301">
                  <c:v>8.1690140844999995E-2</c:v>
                </c:pt>
                <c:pt idx="302">
                  <c:v>0.14122137404499999</c:v>
                </c:pt>
                <c:pt idx="303">
                  <c:v>4.5454545454000003E-2</c:v>
                </c:pt>
                <c:pt idx="304">
                  <c:v>7.6252723310999998E-2</c:v>
                </c:pt>
                <c:pt idx="305">
                  <c:v>0.12348178137599999</c:v>
                </c:pt>
                <c:pt idx="306">
                  <c:v>0.16356877323399999</c:v>
                </c:pt>
                <c:pt idx="307">
                  <c:v>0.15111111111100001</c:v>
                </c:pt>
                <c:pt idx="308">
                  <c:v>0.12544802867300001</c:v>
                </c:pt>
                <c:pt idx="309">
                  <c:v>0.112195121951</c:v>
                </c:pt>
                <c:pt idx="310">
                  <c:v>4.8780487804000003E-2</c:v>
                </c:pt>
                <c:pt idx="311">
                  <c:v>9.6244131455000007E-2</c:v>
                </c:pt>
                <c:pt idx="312">
                  <c:v>0.13846153846100001</c:v>
                </c:pt>
                <c:pt idx="313">
                  <c:v>0.148876404494</c:v>
                </c:pt>
                <c:pt idx="314">
                  <c:v>0.124260355029</c:v>
                </c:pt>
                <c:pt idx="315">
                  <c:v>0.150943396226</c:v>
                </c:pt>
                <c:pt idx="316">
                  <c:v>0.118421052631</c:v>
                </c:pt>
                <c:pt idx="317">
                  <c:v>8.5201793720999994E-2</c:v>
                </c:pt>
                <c:pt idx="318">
                  <c:v>0.117063492063</c:v>
                </c:pt>
                <c:pt idx="319">
                  <c:v>0.130360205831</c:v>
                </c:pt>
                <c:pt idx="320">
                  <c:v>0.16242038216499999</c:v>
                </c:pt>
                <c:pt idx="321">
                  <c:v>0.12144702842299999</c:v>
                </c:pt>
                <c:pt idx="322">
                  <c:v>0.146095717884</c:v>
                </c:pt>
                <c:pt idx="323">
                  <c:v>0.16860465116199999</c:v>
                </c:pt>
                <c:pt idx="324">
                  <c:v>0.121771217712</c:v>
                </c:pt>
                <c:pt idx="325">
                  <c:v>0.149509803921</c:v>
                </c:pt>
                <c:pt idx="326">
                  <c:v>0.18163265306099999</c:v>
                </c:pt>
                <c:pt idx="327">
                  <c:v>0.13348416289500001</c:v>
                </c:pt>
                <c:pt idx="328">
                  <c:v>0.178053830227</c:v>
                </c:pt>
                <c:pt idx="329">
                  <c:v>0.113821138211</c:v>
                </c:pt>
                <c:pt idx="330">
                  <c:v>0.13669064748199999</c:v>
                </c:pt>
                <c:pt idx="331">
                  <c:v>0.14830508474500001</c:v>
                </c:pt>
                <c:pt idx="332">
                  <c:v>0.111538461538</c:v>
                </c:pt>
                <c:pt idx="333">
                  <c:v>0.146739130434</c:v>
                </c:pt>
                <c:pt idx="334">
                  <c:v>0.14672686230199999</c:v>
                </c:pt>
                <c:pt idx="335">
                  <c:v>0.14227642276399999</c:v>
                </c:pt>
                <c:pt idx="336">
                  <c:v>0.12921348314600001</c:v>
                </c:pt>
                <c:pt idx="337">
                  <c:v>0.127208480565</c:v>
                </c:pt>
                <c:pt idx="338">
                  <c:v>9.2233009707999997E-2</c:v>
                </c:pt>
                <c:pt idx="339">
                  <c:v>0.123924268502</c:v>
                </c:pt>
                <c:pt idx="340">
                  <c:v>0.14971209213</c:v>
                </c:pt>
                <c:pt idx="341">
                  <c:v>0.15909090909000001</c:v>
                </c:pt>
                <c:pt idx="342">
                  <c:v>0.103813559322</c:v>
                </c:pt>
                <c:pt idx="343">
                  <c:v>0.12727272727200001</c:v>
                </c:pt>
                <c:pt idx="344">
                  <c:v>0.13492063492</c:v>
                </c:pt>
                <c:pt idx="345">
                  <c:v>0.15942028985500001</c:v>
                </c:pt>
                <c:pt idx="346">
                  <c:v>9.8073555165999998E-2</c:v>
                </c:pt>
                <c:pt idx="347">
                  <c:v>0.14545454545399999</c:v>
                </c:pt>
                <c:pt idx="348">
                  <c:v>0.107142857142</c:v>
                </c:pt>
                <c:pt idx="349">
                  <c:v>0.104325699745</c:v>
                </c:pt>
                <c:pt idx="350">
                  <c:v>0.12987012986999999</c:v>
                </c:pt>
                <c:pt idx="351">
                  <c:v>0.134782608695</c:v>
                </c:pt>
                <c:pt idx="352">
                  <c:v>0.106918238993</c:v>
                </c:pt>
                <c:pt idx="353">
                  <c:v>0.111111111111</c:v>
                </c:pt>
                <c:pt idx="354">
                  <c:v>0.13311688311600001</c:v>
                </c:pt>
                <c:pt idx="355">
                  <c:v>7.2033898304999996E-2</c:v>
                </c:pt>
                <c:pt idx="356">
                  <c:v>0.14615384615300001</c:v>
                </c:pt>
                <c:pt idx="357">
                  <c:v>8.1632653060999996E-2</c:v>
                </c:pt>
                <c:pt idx="358">
                  <c:v>6.6666666666000005E-2</c:v>
                </c:pt>
                <c:pt idx="359">
                  <c:v>0.21666666666600001</c:v>
                </c:pt>
                <c:pt idx="360">
                  <c:v>0.152631578947</c:v>
                </c:pt>
                <c:pt idx="361">
                  <c:v>0.104545454545</c:v>
                </c:pt>
                <c:pt idx="362">
                  <c:v>8.4615384614999997E-2</c:v>
                </c:pt>
                <c:pt idx="363">
                  <c:v>0.12941176470499999</c:v>
                </c:pt>
                <c:pt idx="364">
                  <c:v>0.195876288659</c:v>
                </c:pt>
                <c:pt idx="365">
                  <c:v>0.36</c:v>
                </c:pt>
                <c:pt idx="366">
                  <c:v>0.11864406779599999</c:v>
                </c:pt>
                <c:pt idx="367">
                  <c:v>9.4224924012E-2</c:v>
                </c:pt>
                <c:pt idx="368">
                  <c:v>0.125</c:v>
                </c:pt>
                <c:pt idx="369">
                  <c:v>0.148717948717</c:v>
                </c:pt>
                <c:pt idx="370">
                  <c:v>0.12</c:v>
                </c:pt>
                <c:pt idx="371">
                  <c:v>0.14285714285699999</c:v>
                </c:pt>
                <c:pt idx="372">
                  <c:v>0.14049586776799999</c:v>
                </c:pt>
                <c:pt idx="373">
                  <c:v>0.135922330097</c:v>
                </c:pt>
                <c:pt idx="374">
                  <c:v>8.9912280701000005E-2</c:v>
                </c:pt>
                <c:pt idx="375">
                  <c:v>0.137741046831</c:v>
                </c:pt>
                <c:pt idx="376">
                  <c:v>0.208588957055</c:v>
                </c:pt>
                <c:pt idx="377">
                  <c:v>0.13333333333299999</c:v>
                </c:pt>
                <c:pt idx="378">
                  <c:v>0.23870967741900001</c:v>
                </c:pt>
                <c:pt idx="379">
                  <c:v>0.23076923076899999</c:v>
                </c:pt>
                <c:pt idx="380">
                  <c:v>0.192513368983</c:v>
                </c:pt>
                <c:pt idx="381">
                  <c:v>0.19834710743799999</c:v>
                </c:pt>
                <c:pt idx="382">
                  <c:v>0.35514018691499999</c:v>
                </c:pt>
                <c:pt idx="383">
                  <c:v>0.36239782016299998</c:v>
                </c:pt>
                <c:pt idx="384">
                  <c:v>0.27295918367299998</c:v>
                </c:pt>
                <c:pt idx="385">
                  <c:v>0.28686327077700002</c:v>
                </c:pt>
                <c:pt idx="386">
                  <c:v>0.3</c:v>
                </c:pt>
                <c:pt idx="387">
                  <c:v>0.29090909090900002</c:v>
                </c:pt>
                <c:pt idx="388">
                  <c:v>0.255033557046</c:v>
                </c:pt>
                <c:pt idx="389">
                  <c:v>0.38602941176400002</c:v>
                </c:pt>
                <c:pt idx="390">
                  <c:v>0.404395604395</c:v>
                </c:pt>
                <c:pt idx="391">
                  <c:v>0.321100917431</c:v>
                </c:pt>
                <c:pt idx="392">
                  <c:v>0.307106598984</c:v>
                </c:pt>
                <c:pt idx="393">
                  <c:v>0.292452830188</c:v>
                </c:pt>
                <c:pt idx="394">
                  <c:v>0.31147540983599997</c:v>
                </c:pt>
                <c:pt idx="395">
                  <c:v>0.28000000000000003</c:v>
                </c:pt>
                <c:pt idx="396">
                  <c:v>0.40617577197100002</c:v>
                </c:pt>
                <c:pt idx="397">
                  <c:v>0.38235294117599999</c:v>
                </c:pt>
                <c:pt idx="398">
                  <c:v>0.31490384615299999</c:v>
                </c:pt>
                <c:pt idx="399">
                  <c:v>0.31089743589699997</c:v>
                </c:pt>
                <c:pt idx="400">
                  <c:v>0.38888888888799999</c:v>
                </c:pt>
                <c:pt idx="401">
                  <c:v>0.31775700934500001</c:v>
                </c:pt>
                <c:pt idx="402">
                  <c:v>0.23488372093000001</c:v>
                </c:pt>
                <c:pt idx="403">
                  <c:v>0.36249999999999999</c:v>
                </c:pt>
                <c:pt idx="404">
                  <c:v>0.367256637168</c:v>
                </c:pt>
                <c:pt idx="405">
                  <c:v>0.23049645390000001</c:v>
                </c:pt>
                <c:pt idx="406">
                  <c:v>0.26696832579099999</c:v>
                </c:pt>
                <c:pt idx="407">
                  <c:v>0.28461538461500002</c:v>
                </c:pt>
                <c:pt idx="408">
                  <c:v>0.29508196721300001</c:v>
                </c:pt>
                <c:pt idx="409">
                  <c:v>0.26751592356600001</c:v>
                </c:pt>
                <c:pt idx="410">
                  <c:v>0.34630350194499998</c:v>
                </c:pt>
                <c:pt idx="411">
                  <c:v>0.29220779220699999</c:v>
                </c:pt>
                <c:pt idx="412">
                  <c:v>0.2</c:v>
                </c:pt>
                <c:pt idx="413">
                  <c:v>0.218543046357</c:v>
                </c:pt>
                <c:pt idx="414">
                  <c:v>0.33333333333300003</c:v>
                </c:pt>
                <c:pt idx="415">
                  <c:v>0.23076923076899999</c:v>
                </c:pt>
                <c:pt idx="416">
                  <c:v>0.21428571428500001</c:v>
                </c:pt>
                <c:pt idx="417">
                  <c:v>0.257731958762</c:v>
                </c:pt>
                <c:pt idx="418">
                  <c:v>0.29268292682899999</c:v>
                </c:pt>
                <c:pt idx="419">
                  <c:v>0.18811881188099999</c:v>
                </c:pt>
                <c:pt idx="420">
                  <c:v>0.16176470588200001</c:v>
                </c:pt>
                <c:pt idx="421">
                  <c:v>0.317073170731</c:v>
                </c:pt>
                <c:pt idx="422">
                  <c:v>0.33333333333300003</c:v>
                </c:pt>
                <c:pt idx="423">
                  <c:v>0.19387755102000001</c:v>
                </c:pt>
                <c:pt idx="424">
                  <c:v>0.197916666666</c:v>
                </c:pt>
                <c:pt idx="425">
                  <c:v>0.30434782608599997</c:v>
                </c:pt>
                <c:pt idx="426">
                  <c:v>8.9285714284999998E-2</c:v>
                </c:pt>
                <c:pt idx="427">
                  <c:v>0.30434782608599997</c:v>
                </c:pt>
                <c:pt idx="428">
                  <c:v>0.31428571428500002</c:v>
                </c:pt>
                <c:pt idx="429">
                  <c:v>0.14285714285699999</c:v>
                </c:pt>
                <c:pt idx="430">
                  <c:v>0.23076923076899999</c:v>
                </c:pt>
                <c:pt idx="431">
                  <c:v>0.10465116279</c:v>
                </c:pt>
                <c:pt idx="432">
                  <c:v>0.32653061224399998</c:v>
                </c:pt>
                <c:pt idx="433">
                  <c:v>0.222222222222</c:v>
                </c:pt>
                <c:pt idx="434">
                  <c:v>0.2</c:v>
                </c:pt>
                <c:pt idx="435">
                  <c:v>0.47058823529400001</c:v>
                </c:pt>
                <c:pt idx="436">
                  <c:v>0.176470588235</c:v>
                </c:pt>
                <c:pt idx="437">
                  <c:v>0.27500000000000002</c:v>
                </c:pt>
                <c:pt idx="438">
                  <c:v>0.22891566264999999</c:v>
                </c:pt>
                <c:pt idx="439">
                  <c:v>0.26666666666599997</c:v>
                </c:pt>
                <c:pt idx="440">
                  <c:v>0.28260869565199997</c:v>
                </c:pt>
                <c:pt idx="441">
                  <c:v>0.27659574467999998</c:v>
                </c:pt>
                <c:pt idx="442">
                  <c:v>0.208333333333</c:v>
                </c:pt>
                <c:pt idx="443">
                  <c:v>0.375</c:v>
                </c:pt>
                <c:pt idx="444">
                  <c:v>0.177419354838</c:v>
                </c:pt>
                <c:pt idx="445">
                  <c:v>0.30232558139499999</c:v>
                </c:pt>
                <c:pt idx="446">
                  <c:v>0.357142857142</c:v>
                </c:pt>
                <c:pt idx="447">
                  <c:v>0.229166666666</c:v>
                </c:pt>
                <c:pt idx="448">
                  <c:v>0.21621621621600001</c:v>
                </c:pt>
                <c:pt idx="449">
                  <c:v>0.33333333333300003</c:v>
                </c:pt>
                <c:pt idx="450">
                  <c:v>8.3333333332999998E-2</c:v>
                </c:pt>
                <c:pt idx="451">
                  <c:v>0.21951219512100001</c:v>
                </c:pt>
                <c:pt idx="452">
                  <c:v>0.27272727272699998</c:v>
                </c:pt>
                <c:pt idx="453">
                  <c:v>0.152777777777</c:v>
                </c:pt>
                <c:pt idx="454">
                  <c:v>0.22</c:v>
                </c:pt>
                <c:pt idx="455">
                  <c:v>0.15217391304299999</c:v>
                </c:pt>
                <c:pt idx="456">
                  <c:v>0.12686478806500001</c:v>
                </c:pt>
                <c:pt idx="457">
                  <c:v>0.106141199226</c:v>
                </c:pt>
                <c:pt idx="458">
                  <c:v>8.3509108341000005E-2</c:v>
                </c:pt>
                <c:pt idx="459">
                  <c:v>9.1005458072000001E-2</c:v>
                </c:pt>
                <c:pt idx="460">
                  <c:v>0.112796741115</c:v>
                </c:pt>
                <c:pt idx="461">
                  <c:v>0.11033433400500001</c:v>
                </c:pt>
                <c:pt idx="462">
                  <c:v>9.0709087832000004E-2</c:v>
                </c:pt>
                <c:pt idx="463">
                  <c:v>7.9204153188999996E-2</c:v>
                </c:pt>
                <c:pt idx="464">
                  <c:v>8.8737681838999993E-2</c:v>
                </c:pt>
                <c:pt idx="465">
                  <c:v>0.104473131191</c:v>
                </c:pt>
                <c:pt idx="466">
                  <c:v>7.7467641852999994E-2</c:v>
                </c:pt>
                <c:pt idx="467">
                  <c:v>0.133866458617</c:v>
                </c:pt>
                <c:pt idx="468">
                  <c:v>0.14549012348900001</c:v>
                </c:pt>
                <c:pt idx="469">
                  <c:v>0.140575781993</c:v>
                </c:pt>
                <c:pt idx="470">
                  <c:v>0.14281141296200001</c:v>
                </c:pt>
                <c:pt idx="471">
                  <c:v>0.13866746879200001</c:v>
                </c:pt>
                <c:pt idx="472">
                  <c:v>0.20295085447399999</c:v>
                </c:pt>
                <c:pt idx="473">
                  <c:v>0.16091114249899999</c:v>
                </c:pt>
                <c:pt idx="474">
                  <c:v>0.222082810539</c:v>
                </c:pt>
                <c:pt idx="475">
                  <c:v>0.226833054693</c:v>
                </c:pt>
                <c:pt idx="476">
                  <c:v>0.19780470670799999</c:v>
                </c:pt>
                <c:pt idx="477">
                  <c:v>0.168490818436</c:v>
                </c:pt>
                <c:pt idx="478">
                  <c:v>0.18159827987800001</c:v>
                </c:pt>
                <c:pt idx="479">
                  <c:v>0.21456634544100001</c:v>
                </c:pt>
                <c:pt idx="480">
                  <c:v>0.18926206711499999</c:v>
                </c:pt>
                <c:pt idx="481">
                  <c:v>0.229834992317</c:v>
                </c:pt>
                <c:pt idx="482">
                  <c:v>0.32443220313999999</c:v>
                </c:pt>
                <c:pt idx="483">
                  <c:v>0.19017879188299999</c:v>
                </c:pt>
                <c:pt idx="484">
                  <c:v>0.230581409086</c:v>
                </c:pt>
                <c:pt idx="485">
                  <c:v>0.140345839059</c:v>
                </c:pt>
                <c:pt idx="486">
                  <c:v>0.314392924149</c:v>
                </c:pt>
                <c:pt idx="487">
                  <c:v>0.17695186834900001</c:v>
                </c:pt>
                <c:pt idx="488">
                  <c:v>0.302314361724</c:v>
                </c:pt>
                <c:pt idx="489">
                  <c:v>0.25692836715200001</c:v>
                </c:pt>
                <c:pt idx="490">
                  <c:v>0.20272973102700001</c:v>
                </c:pt>
                <c:pt idx="491">
                  <c:v>0.16688916149499999</c:v>
                </c:pt>
                <c:pt idx="492">
                  <c:v>0.25480693583399999</c:v>
                </c:pt>
                <c:pt idx="493">
                  <c:v>0.17867352773</c:v>
                </c:pt>
                <c:pt idx="494">
                  <c:v>0.20046184087400001</c:v>
                </c:pt>
                <c:pt idx="495">
                  <c:v>0.26498197886300001</c:v>
                </c:pt>
                <c:pt idx="496">
                  <c:v>0.25080181375799998</c:v>
                </c:pt>
                <c:pt idx="497">
                  <c:v>0.17467384551599999</c:v>
                </c:pt>
                <c:pt idx="498">
                  <c:v>0.18328368182099999</c:v>
                </c:pt>
                <c:pt idx="499">
                  <c:v>0.178830227743</c:v>
                </c:pt>
                <c:pt idx="500">
                  <c:v>0.22044839919699999</c:v>
                </c:pt>
                <c:pt idx="501">
                  <c:v>0.168178993163</c:v>
                </c:pt>
                <c:pt idx="502">
                  <c:v>0.26367791942300001</c:v>
                </c:pt>
                <c:pt idx="503">
                  <c:v>0.20687070580799999</c:v>
                </c:pt>
                <c:pt idx="504">
                  <c:v>0.17000190585</c:v>
                </c:pt>
                <c:pt idx="505">
                  <c:v>0.15814995925</c:v>
                </c:pt>
                <c:pt idx="506">
                  <c:v>0.190282131661</c:v>
                </c:pt>
                <c:pt idx="507">
                  <c:v>0.18736722843699999</c:v>
                </c:pt>
                <c:pt idx="508">
                  <c:v>0.207564575645</c:v>
                </c:pt>
                <c:pt idx="509">
                  <c:v>0.235707653534</c:v>
                </c:pt>
                <c:pt idx="510">
                  <c:v>0.20810154352400001</c:v>
                </c:pt>
                <c:pt idx="511">
                  <c:v>0.16781865477499999</c:v>
                </c:pt>
                <c:pt idx="512">
                  <c:v>0.16430437881000001</c:v>
                </c:pt>
                <c:pt idx="513">
                  <c:v>0.19036519036499999</c:v>
                </c:pt>
                <c:pt idx="514">
                  <c:v>0.17665549036</c:v>
                </c:pt>
                <c:pt idx="515">
                  <c:v>0.16693318501000001</c:v>
                </c:pt>
                <c:pt idx="516">
                  <c:v>0.237282106012</c:v>
                </c:pt>
                <c:pt idx="517">
                  <c:v>0.215950787826</c:v>
                </c:pt>
                <c:pt idx="518">
                  <c:v>0.182495529505</c:v>
                </c:pt>
                <c:pt idx="519">
                  <c:v>0.17181051498200001</c:v>
                </c:pt>
                <c:pt idx="520">
                  <c:v>0.18585923659199999</c:v>
                </c:pt>
                <c:pt idx="521">
                  <c:v>0.180606747944</c:v>
                </c:pt>
                <c:pt idx="522">
                  <c:v>0.212985865724</c:v>
                </c:pt>
                <c:pt idx="523">
                  <c:v>0.239205702647</c:v>
                </c:pt>
                <c:pt idx="524">
                  <c:v>0.21792890262699999</c:v>
                </c:pt>
                <c:pt idx="525">
                  <c:v>0.199715784871</c:v>
                </c:pt>
                <c:pt idx="526">
                  <c:v>0.18845203787500001</c:v>
                </c:pt>
                <c:pt idx="527">
                  <c:v>0.190955728671</c:v>
                </c:pt>
                <c:pt idx="528">
                  <c:v>0.22278566598999999</c:v>
                </c:pt>
                <c:pt idx="529">
                  <c:v>0.228677258992</c:v>
                </c:pt>
                <c:pt idx="530">
                  <c:v>0.250940889971</c:v>
                </c:pt>
                <c:pt idx="531">
                  <c:v>0.23852735286400001</c:v>
                </c:pt>
                <c:pt idx="532">
                  <c:v>0.22485128883</c:v>
                </c:pt>
                <c:pt idx="533">
                  <c:v>0.231297522688</c:v>
                </c:pt>
                <c:pt idx="534">
                  <c:v>0.25340339144899998</c:v>
                </c:pt>
                <c:pt idx="535">
                  <c:v>0.18965517241300001</c:v>
                </c:pt>
                <c:pt idx="536">
                  <c:v>0.23811999583999999</c:v>
                </c:pt>
                <c:pt idx="537">
                  <c:v>0.256937911570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7"/>
        <c:majorTimeUnit val="days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61033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9727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7549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25310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99574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53245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619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9984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5902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2692988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67449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1777077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E5DF3E9-62C1-4745-823A-6D7216BF2C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9EBB1DD8-049C-4DC4-865B-670ECCC1BC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0B8F6BC-6C17-4E1F-8430-F112AE5EDA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4AEA1B8-AA43-438F-A463-B1BC9EFE9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296E2AE-331F-4547-8B24-6018982D5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67952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281B43B-783B-4C77-9518-4AF9F0FD6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541BCDB-67E6-4ADB-9708-B6BDC2288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A8BB6B8-CF86-40CB-92A3-6CFE69E574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4AEE1F9-76AC-43D2-A469-01DC8190F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B73F07E-5DFC-4BFD-A8DC-1F93AF7FC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01544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90C8933-F171-4FCA-8AF4-9ABAC1C27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FADB897-B5F1-4A1D-9DB2-815B120206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CAAB62E-0A68-434A-98F2-E3C4932120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9D35E8C-4AFA-4ABE-AA72-FAF595140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2E51066-932D-4961-B51C-38F9670D7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12707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096BD48-6164-4386-BB7E-D69F4F1D1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561661A-F73C-4B5B-9493-BF9B81676B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2A4FA98-6ABD-44BF-88A5-E852BA8BB0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4D076AE-DBFC-4CB5-8FFC-C0BB5E818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4E091C5-E625-4598-B1E6-3F885953F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0ECA2E2-038F-4D15-8B22-BE2A601B4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833459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417C5EC-D4FD-409B-BCEA-81C67F2DF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F95288A-7692-4288-8064-89566DA69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717422F-CF67-458B-8257-941538B93C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B611ED1E-63F2-4E48-9751-C96E138091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45CDB4E9-8C7F-4695-AA9C-FCEDB82BE55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CD5BE80-19D6-4DCB-B280-F8E23D5DC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62266B58-B73D-434E-8E76-1658F85F46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F14DF817-7C62-425D-8000-6B59D5721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68416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E02F693-58EE-4672-BD4C-0201EBE61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A3CCDE9D-0684-449D-B101-13110CE847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8DB61E3A-D7EB-46DB-AEAB-E7CD5460B8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E06CBE6C-77F3-490E-A01A-54A03DF59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049322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C8A2ECC-513E-4D0A-9740-7774981F91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BFEE1ED7-124E-4945-9FDD-41F9CA408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74A38A2-0A22-4C0C-A87C-64CB95236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245155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EEB7537-C8B7-4597-B6FF-AFBD3ABB56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0968028-85C4-4789-9477-06B0BD18EF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1DEF750-34CD-4931-992E-BA63D1C1C5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997B1277-7600-4DB5-BC5E-8B1B065C4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7811C39-222F-4FAD-B07E-3ADEA53C2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8235432-3FBC-43FC-A754-373FC46E31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54021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742B714-80ED-4005-A405-43615470A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7E94801-A074-4B8C-B757-B69FE37EB6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117BBB6E-AD26-4F37-9661-566B5BCC81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5F1F047-462C-4865-96C9-9F42D674BA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2B49764F-E273-420D-88A4-2CF93C491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52C22BF-1A22-495C-A09D-37AADCD83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37084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2364D47-2261-4726-A626-CA137E850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4C777ACA-1D5C-4168-AC03-6FA3CB2E2D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EF2F1B4-0F1F-4113-B68C-6186C252F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412B750-773E-468C-AC61-D1E5DE642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349774A-2C14-4111-97F2-EC2F6B578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181005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58EB29D-A8B1-4704-AEF9-6A01A64E65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2E7D6AC-8E05-49CC-8C8A-A8374E8D0D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F6127B3-2A5B-480B-8BB4-55153F87A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38F06BC-2E99-45BF-AFA9-920584775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C51DB7-1136-4810-8BA3-5BF8A70FF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172331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351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1197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77171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8277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571967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182888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3907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87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2928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410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ADBC079C-B4DA-40CF-A388-906CE99126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D84CBAA-B983-4013-8B61-110ECD403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F2611F3-43BB-4F17-93A2-2EB2B6A661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5F079A-B969-4D3B-9E26-A76BF6458036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38CCD38-9444-4B91-9637-67BD43E8AA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CC1DF30-0952-45DB-971A-5E04E15845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97407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  <p:sldLayoutId id="21474839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96778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chart" Target="../charts/chart7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slideLayout" Target="../slideLayouts/slideLayout29.xml"/><Relationship Id="rId5" Type="http://schemas.openxmlformats.org/officeDocument/2006/relationships/tags" Target="../tags/tag97.xml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105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slideLayout" Target="../slideLayouts/slideLayout46.xml"/><Relationship Id="rId5" Type="http://schemas.openxmlformats.org/officeDocument/2006/relationships/tags" Target="../tags/tag107.xml"/><Relationship Id="rId4" Type="http://schemas.openxmlformats.org/officeDocument/2006/relationships/tags" Target="../tags/tag10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110.xml"/><Relationship Id="rId7" Type="http://schemas.openxmlformats.org/officeDocument/2006/relationships/slideLayout" Target="../slideLayouts/slideLayout46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Relationship Id="rId9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chart" Target="../charts/chart10.xml"/><Relationship Id="rId4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chart" Target="../charts/chart11.xml"/><Relationship Id="rId4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chart" Target="../charts/chart1.xml"/><Relationship Id="rId4" Type="http://schemas.openxmlformats.org/officeDocument/2006/relationships/tags" Target="../tags/tag7.xml"/><Relationship Id="rId9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chart" Target="../charts/chart2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chart" Target="../charts/chart3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chart" Target="../charts/chart5.xml"/><Relationship Id="rId5" Type="http://schemas.openxmlformats.org/officeDocument/2006/relationships/tags" Target="../tags/tag23.xml"/><Relationship Id="rId10" Type="http://schemas.openxmlformats.org/officeDocument/2006/relationships/chart" Target="../charts/chart4.xml"/><Relationship Id="rId4" Type="http://schemas.openxmlformats.org/officeDocument/2006/relationships/tags" Target="../tags/tag22.xml"/><Relationship Id="rId9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image" Target="../media/image17.png"/><Relationship Id="rId3" Type="http://schemas.openxmlformats.org/officeDocument/2006/relationships/tags" Target="../tags/tag28.xml"/><Relationship Id="rId21" Type="http://schemas.openxmlformats.org/officeDocument/2006/relationships/slideLayout" Target="../slideLayouts/slideLayout21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image" Target="../media/image16.png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image" Target="../media/image15.png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image" Target="../media/image14.png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26" Type="http://schemas.openxmlformats.org/officeDocument/2006/relationships/image" Target="../media/image19.png"/><Relationship Id="rId3" Type="http://schemas.openxmlformats.org/officeDocument/2006/relationships/tags" Target="../tags/tag48.xml"/><Relationship Id="rId21" Type="http://schemas.openxmlformats.org/officeDocument/2006/relationships/tags" Target="../tags/tag66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image" Target="../media/image18.png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29" Type="http://schemas.openxmlformats.org/officeDocument/2006/relationships/image" Target="../media/image22.png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slideLayout" Target="../slideLayouts/slideLayout21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tags" Target="../tags/tag68.xml"/><Relationship Id="rId28" Type="http://schemas.openxmlformats.org/officeDocument/2006/relationships/image" Target="../media/image21.png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tags" Target="../tags/tag67.xml"/><Relationship Id="rId27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2" Type="http://schemas.openxmlformats.org/officeDocument/2006/relationships/tags" Target="../tags/tag70.xml"/><Relationship Id="rId16" Type="http://schemas.openxmlformats.org/officeDocument/2006/relationships/notesSlide" Target="../notesSlides/notesSlide3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chart" Target="../charts/chart6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slideLayout" Target="../slideLayouts/slideLayout29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513426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Základní údaje o šíření nákazy mezi občany Ukrajiny na území ČR k 2. 4. 2022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9964062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4">
            <a:extLst>
              <a:ext uri="{FF2B5EF4-FFF2-40B4-BE49-F238E27FC236}">
                <a16:creationId xmlns:a16="http://schemas.microsoft.com/office/drawing/2014/main" id="{4017EDDB-B32A-4BE0-898A-6E922001600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9436864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Po</a:t>
            </a:r>
            <a:r>
              <a:rPr lang="cs-CZ" sz="2400" dirty="0" err="1"/>
              <a:t>čty</a:t>
            </a:r>
            <a:r>
              <a:rPr lang="cs-CZ" sz="2400" dirty="0"/>
              <a:t> realizovaných </a:t>
            </a:r>
            <a:r>
              <a:rPr lang="en-US" sz="2400" dirty="0"/>
              <a:t>AG</a:t>
            </a:r>
            <a:r>
              <a:rPr lang="cs-CZ" sz="2400" dirty="0"/>
              <a:t> testů u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bčanů Ukrajiny</a:t>
            </a:r>
            <a:r>
              <a:rPr lang="cs-CZ" sz="2400" dirty="0"/>
              <a:t> v čase</a:t>
            </a: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91310" y="2532521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Zahnutá šipka nahoru 25">
            <a:extLst>
              <a:ext uri="{FF2B5EF4-FFF2-40B4-BE49-F238E27FC236}">
                <a16:creationId xmlns:a16="http://schemas.microsoft.com/office/drawing/2014/main" id="{595E001A-4FCA-4DDB-8C25-BFD9173BD47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105657" y="2532521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049657" y="2563154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182485" y="627935"/>
            <a:ext cx="1177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AG testů stagnuje, pohybuje se okolo 150 denně.</a:t>
            </a:r>
          </a:p>
        </p:txBody>
      </p:sp>
      <p:graphicFrame>
        <p:nvGraphicFramePr>
          <p:cNvPr id="15" name="Tabulka 8">
            <a:extLst>
              <a:ext uri="{FF2B5EF4-FFF2-40B4-BE49-F238E27FC236}">
                <a16:creationId xmlns:a16="http://schemas.microsoft.com/office/drawing/2014/main" id="{27EDA83E-1938-4257-9288-4A15BE038CBC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19794588"/>
              </p:ext>
            </p:extLst>
          </p:nvPr>
        </p:nvGraphicFramePr>
        <p:xfrm>
          <a:off x="213864" y="1077360"/>
          <a:ext cx="11764271" cy="1483320"/>
        </p:xfrm>
        <a:graphic>
          <a:graphicData uri="http://schemas.openxmlformats.org/drawingml/2006/table">
            <a:tbl>
              <a:tblPr firstRow="1" bandRow="1"/>
              <a:tblGrid>
                <a:gridCol w="622012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3.–25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3.–1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 testů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 testů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testů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 testů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 testů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 testů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.5 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1.8 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8.0 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0.3 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11" name="Zahnutá šipka nahoru 25">
            <a:extLst>
              <a:ext uri="{FF2B5EF4-FFF2-40B4-BE49-F238E27FC236}">
                <a16:creationId xmlns:a16="http://schemas.microsoft.com/office/drawing/2014/main" id="{3704D35C-C39F-4572-A876-3917FBCBDCA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096092" y="2563154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1BEC1FDD-D731-4B7B-82EA-B380D30D9C3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09328" y="2532521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64873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2811124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 u občanů Ukrajiny: </a:t>
            </a:r>
            <a:r>
              <a:rPr lang="cs-CZ" dirty="0"/>
              <a:t>diagnost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testů v ČR</a:t>
            </a:r>
          </a:p>
        </p:txBody>
      </p:sp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C5CEEB84-F215-46CC-8B8D-4DB20680ADD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38854707"/>
              </p:ext>
            </p:extLst>
          </p:nvPr>
        </p:nvGraphicFramePr>
        <p:xfrm>
          <a:off x="1646869" y="576002"/>
          <a:ext cx="3153360" cy="2073913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um*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pozitivních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3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3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3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 za posledních 7 dní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8.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348695" y="2645033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9955ECA9-C12D-463A-87BF-C5E848D6EE7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83478" y="886349"/>
            <a:ext cx="67130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posledních týdnech relativní pozitivita u občanů Ukrajiny silně kolísá. Nyní klesá a pohybuje se okolo 30 %.</a:t>
            </a:r>
          </a:p>
        </p:txBody>
      </p:sp>
    </p:spTree>
    <p:extLst>
      <p:ext uri="{BB962C8B-B14F-4D97-AF65-F5344CB8AC3E}">
        <p14:creationId xmlns:p14="http://schemas.microsoft.com/office/powerpoint/2010/main" val="16873348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 u občanů Ukrajiny 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test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67988559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A11C1904-4002-4181-A5AD-2C063C768D3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7577610"/>
              </p:ext>
            </p:extLst>
          </p:nvPr>
        </p:nvGraphicFramePr>
        <p:xfrm>
          <a:off x="1497774" y="584107"/>
          <a:ext cx="3153360" cy="2073913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um*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pozitivních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3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3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3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 za posledních 7 dní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.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54232" y="2667636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2E90075-8FD9-4D30-B55E-17CFAA3FA3D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119042" y="1068653"/>
            <a:ext cx="61836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epidemiologicky indikovaných testů u občanů Ukrajiny kolísá okolo hodnoty 20 %. </a:t>
            </a:r>
          </a:p>
        </p:txBody>
      </p:sp>
    </p:spTree>
    <p:extLst>
      <p:ext uri="{BB962C8B-B14F-4D97-AF65-F5344CB8AC3E}">
        <p14:creationId xmlns:p14="http://schemas.microsoft.com/office/powerpoint/2010/main" val="16758864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1810261" cy="576000"/>
          </a:xfrm>
        </p:spPr>
        <p:txBody>
          <a:bodyPr/>
          <a:lstStyle/>
          <a:p>
            <a:r>
              <a:rPr lang="cs-CZ" dirty="0"/>
              <a:t>Absolutní počty záchytů u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bčanů Ukrajiny </a:t>
            </a:r>
            <a:endParaRPr lang="cs-CZ" dirty="0"/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5404BA8C-9898-4577-805A-903ACB17033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718159"/>
              </p:ext>
            </p:extLst>
          </p:nvPr>
        </p:nvGraphicFramePr>
        <p:xfrm>
          <a:off x="343598" y="856674"/>
          <a:ext cx="11659012" cy="57270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807283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1810261" cy="576000"/>
          </a:xfrm>
        </p:spPr>
        <p:txBody>
          <a:bodyPr/>
          <a:lstStyle/>
          <a:p>
            <a:r>
              <a:rPr lang="cs-CZ" sz="2000" dirty="0"/>
              <a:t>Relativní pozitivita PCR testů u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bčanů Ukrajiny </a:t>
            </a:r>
            <a:endParaRPr lang="cs-CZ" dirty="0"/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5404BA8C-9898-4577-805A-903ACB17033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893857"/>
              </p:ext>
            </p:extLst>
          </p:nvPr>
        </p:nvGraphicFramePr>
        <p:xfrm>
          <a:off x="343598" y="856674"/>
          <a:ext cx="11659012" cy="57270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07272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u občanů Ukrajiny ukazuje na stagnaci šíření epidemie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8554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35786224"/>
              </p:ext>
            </p:extLst>
          </p:nvPr>
        </p:nvGraphicFramePr>
        <p:xfrm>
          <a:off x="931755" y="631456"/>
          <a:ext cx="10328489" cy="2646412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3.–25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3.–1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1.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4.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.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.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213071" y="2148048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81736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občanů Ukrajiny v ČR 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9439561"/>
              </p:ext>
            </p:extLst>
          </p:nvPr>
        </p:nvGraphicFramePr>
        <p:xfrm>
          <a:off x="1291729" y="1551370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6871" y="3109019"/>
            <a:ext cx="125485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UKR v dané věkové skupi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02442" y="781929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gnace nebo mírný pokles zátěže jsou patrné ve všech věkových skupinách dospělých.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11285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dětí z Ukrajiny v ČR 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372597"/>
              </p:ext>
            </p:ext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7649" y="2386547"/>
            <a:ext cx="125485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UKR v dané věkové skupině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09A40CF8-8C49-4607-9E05-0F423529C68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02442" y="714554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gnace nebo mírný pokles zátěže jsou patrné ve všech věkových skupinách dětí a mladistvých.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8108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Reinfekce u občanů Ukrajiny od 1.1.202</a:t>
            </a:r>
            <a:r>
              <a:rPr lang="en-US" dirty="0"/>
              <a:t>1</a:t>
            </a:r>
            <a:r>
              <a:rPr lang="cs-CZ" dirty="0"/>
              <a:t> – 7 denní průmě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914241" y="1874172"/>
            <a:ext cx="2392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reinfekcí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3109995"/>
              </p:ext>
            </p:extLst>
          </p:nvPr>
        </p:nvGraphicFramePr>
        <p:xfrm>
          <a:off x="561973" y="927115"/>
          <a:ext cx="11377929" cy="2669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F2F30761-04A3-420D-862F-AD03D34803D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581757" y="6574393"/>
            <a:ext cx="315503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88DF8889-6BE5-4948-B35B-476C07888890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03021686"/>
              </p:ext>
            </p:extLst>
          </p:nvPr>
        </p:nvGraphicFramePr>
        <p:xfrm>
          <a:off x="561973" y="3699237"/>
          <a:ext cx="11377929" cy="2669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" name="TextBox 26">
            <a:extLst>
              <a:ext uri="{FF2B5EF4-FFF2-40B4-BE49-F238E27FC236}">
                <a16:creationId xmlns:a16="http://schemas.microsoft.com/office/drawing/2014/main" id="{610F2986-DDB9-4258-A5E7-AC7A516C3ED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806519" y="4427961"/>
            <a:ext cx="23928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nto reinfekcí ze všech nových případů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476205D6-71BF-4E41-92B2-D7B27CE588C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066160" y="927115"/>
            <a:ext cx="8602022" cy="13982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reinfekcí v současnosti neroste, jejich podíl se ustálil na 10 % celkového počtu nových případů nákazy. </a:t>
            </a:r>
          </a:p>
        </p:txBody>
      </p:sp>
    </p:spTree>
    <p:extLst>
      <p:ext uri="{BB962C8B-B14F-4D97-AF65-F5344CB8AC3E}">
        <p14:creationId xmlns:p14="http://schemas.microsoft.com/office/powerpoint/2010/main" val="11779641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D77FD7EC-D643-421C-969C-57E74BE1F77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4854420" y="4237466"/>
            <a:ext cx="4578875" cy="2592000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</a:t>
            </a:r>
            <a:r>
              <a:rPr lang="en-US" dirty="0"/>
              <a:t>sou</a:t>
            </a:r>
            <a:r>
              <a:rPr lang="cs-CZ" dirty="0"/>
              <a:t>čet nových případů občanů Ukrajiny</a:t>
            </a:r>
            <a:r>
              <a:rPr lang="en-US" dirty="0"/>
              <a:t> v </a:t>
            </a:r>
            <a:r>
              <a:rPr lang="en-US" dirty="0" err="1"/>
              <a:t>okresech</a:t>
            </a:r>
            <a:r>
              <a:rPr lang="en-US" dirty="0"/>
              <a:t> </a:t>
            </a:r>
            <a:r>
              <a:rPr lang="cs-CZ" dirty="0"/>
              <a:t>ČR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334280" y="4593940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334280" y="4902666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334280" y="5211392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334280" y="5520118"/>
            <a:ext cx="180000" cy="18000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334280" y="5828844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574036" y="4499274"/>
            <a:ext cx="755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574036" y="4810564"/>
            <a:ext cx="8691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2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574036" y="5121854"/>
            <a:ext cx="8691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3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574036" y="5433144"/>
            <a:ext cx="8691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3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4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574036" y="5744434"/>
            <a:ext cx="8691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4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334280" y="6137569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334280" y="6446293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574036" y="6055724"/>
            <a:ext cx="8691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5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6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574036" y="6367016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6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Box 29">
            <a:extLst>
              <a:ext uri="{FF2B5EF4-FFF2-40B4-BE49-F238E27FC236}">
                <a16:creationId xmlns:a16="http://schemas.microsoft.com/office/drawing/2014/main" id="{D40C6CBB-D282-4297-AEC6-C9771410A41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78399" y="770022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000000"/>
                </a:solidFill>
                <a:latin typeface="Arial" panose="020B0604020202020204"/>
              </a:rPr>
              <a:t>28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02. 2022</a:t>
            </a:r>
          </a:p>
        </p:txBody>
      </p:sp>
      <p:sp>
        <p:nvSpPr>
          <p:cNvPr id="35" name="TextBox 29">
            <a:extLst>
              <a:ext uri="{FF2B5EF4-FFF2-40B4-BE49-F238E27FC236}">
                <a16:creationId xmlns:a16="http://schemas.microsoft.com/office/drawing/2014/main" id="{AB61C4E2-5E23-40AB-AB20-902A270E2951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835531" y="805966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7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0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2</a:t>
            </a:r>
          </a:p>
        </p:txBody>
      </p:sp>
      <p:sp>
        <p:nvSpPr>
          <p:cNvPr id="40" name="TextBox 29">
            <a:extLst>
              <a:ext uri="{FF2B5EF4-FFF2-40B4-BE49-F238E27FC236}">
                <a16:creationId xmlns:a16="http://schemas.microsoft.com/office/drawing/2014/main" id="{FB1D7AD2-029C-4D57-B891-569CDE862F9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092744" y="781135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03. 2022</a:t>
            </a:r>
          </a:p>
        </p:txBody>
      </p:sp>
      <p:sp>
        <p:nvSpPr>
          <p:cNvPr id="44" name="TextBox 29">
            <a:extLst>
              <a:ext uri="{FF2B5EF4-FFF2-40B4-BE49-F238E27FC236}">
                <a16:creationId xmlns:a16="http://schemas.microsoft.com/office/drawing/2014/main" id="{E1D798C9-5BB4-461D-B53E-0E960A84912B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47701" y="3827681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03. 2022</a:t>
            </a:r>
          </a:p>
        </p:txBody>
      </p:sp>
      <p:sp>
        <p:nvSpPr>
          <p:cNvPr id="42" name="TextBox 29">
            <a:extLst>
              <a:ext uri="{FF2B5EF4-FFF2-40B4-BE49-F238E27FC236}">
                <a16:creationId xmlns:a16="http://schemas.microsoft.com/office/drawing/2014/main" id="{3537C72B-6874-4A0F-B08A-8DB93F14FEC8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4746393" y="3901473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00"/>
                </a:solidFill>
                <a:latin typeface="Arial" panose="020B0604020202020204"/>
              </a:rPr>
              <a:t>0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04. 2022</a:t>
            </a:r>
          </a:p>
        </p:txBody>
      </p:sp>
      <p:pic>
        <p:nvPicPr>
          <p:cNvPr id="23" name="Obrázek 22">
            <a:extLst>
              <a:ext uri="{FF2B5EF4-FFF2-40B4-BE49-F238E27FC236}">
                <a16:creationId xmlns:a16="http://schemas.microsoft.com/office/drawing/2014/main" id="{D98CA8AF-7A79-4422-84D3-2B220C4891EE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637349" y="4208932"/>
            <a:ext cx="4217071" cy="2649068"/>
          </a:xfrm>
          <a:prstGeom prst="rect">
            <a:avLst/>
          </a:prstGeom>
        </p:spPr>
      </p:pic>
      <p:pic>
        <p:nvPicPr>
          <p:cNvPr id="25" name="Obrázek 24">
            <a:extLst>
              <a:ext uri="{FF2B5EF4-FFF2-40B4-BE49-F238E27FC236}">
                <a16:creationId xmlns:a16="http://schemas.microsoft.com/office/drawing/2014/main" id="{3370FF3C-1A53-4D2B-998C-411B09871795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4"/>
          <a:stretch>
            <a:fillRect/>
          </a:stretch>
        </p:blipFill>
        <p:spPr>
          <a:xfrm>
            <a:off x="8082355" y="1359747"/>
            <a:ext cx="4109645" cy="2557441"/>
          </a:xfrm>
          <a:prstGeom prst="rect">
            <a:avLst/>
          </a:prstGeom>
        </p:spPr>
      </p:pic>
      <p:pic>
        <p:nvPicPr>
          <p:cNvPr id="45" name="Obrázek 44">
            <a:extLst>
              <a:ext uri="{FF2B5EF4-FFF2-40B4-BE49-F238E27FC236}">
                <a16:creationId xmlns:a16="http://schemas.microsoft.com/office/drawing/2014/main" id="{7901AAAF-64DA-46A5-A447-20F872464AA3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5"/>
          <a:stretch>
            <a:fillRect/>
          </a:stretch>
        </p:blipFill>
        <p:spPr>
          <a:xfrm>
            <a:off x="0" y="1254013"/>
            <a:ext cx="3947912" cy="2462446"/>
          </a:xfrm>
          <a:prstGeom prst="rect">
            <a:avLst/>
          </a:prstGeom>
        </p:spPr>
      </p:pic>
      <p:pic>
        <p:nvPicPr>
          <p:cNvPr id="47" name="Obrázek 46">
            <a:extLst>
              <a:ext uri="{FF2B5EF4-FFF2-40B4-BE49-F238E27FC236}">
                <a16:creationId xmlns:a16="http://schemas.microsoft.com/office/drawing/2014/main" id="{14C03E8E-A4C2-4859-AC88-9AFDFA51ED3D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3947912" y="1353742"/>
            <a:ext cx="4209243" cy="2600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9309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1B942D6F-FAF1-4E79-87BF-61178F4C067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5"/>
          <a:stretch>
            <a:fillRect/>
          </a:stretch>
        </p:blipFill>
        <p:spPr>
          <a:xfrm>
            <a:off x="5390945" y="4266000"/>
            <a:ext cx="4422780" cy="2592000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09212" y="24857"/>
            <a:ext cx="10125069" cy="576000"/>
          </a:xfrm>
        </p:spPr>
        <p:txBody>
          <a:bodyPr/>
          <a:lstStyle/>
          <a:p>
            <a:r>
              <a:rPr lang="cs-CZ" dirty="0"/>
              <a:t>7 denní </a:t>
            </a:r>
            <a:r>
              <a:rPr lang="en-US" dirty="0"/>
              <a:t>sou</a:t>
            </a:r>
            <a:r>
              <a:rPr lang="cs-CZ" dirty="0"/>
              <a:t>čet nových případů občanů Ukrajiny </a:t>
            </a:r>
            <a:r>
              <a:rPr lang="en-US" dirty="0"/>
              <a:t>v </a:t>
            </a:r>
            <a:r>
              <a:rPr lang="cs-CZ" dirty="0"/>
              <a:t>ORP ČR</a:t>
            </a:r>
            <a:endParaRPr lang="cs-CZ" dirty="0">
              <a:latin typeface="+mj-lt"/>
            </a:endParaRPr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id="{61597864-FC8C-4699-8920-F2ACB1CFE1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334280" y="4593940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Rectangle 5">
            <a:extLst>
              <a:ext uri="{FF2B5EF4-FFF2-40B4-BE49-F238E27FC236}">
                <a16:creationId xmlns:a16="http://schemas.microsoft.com/office/drawing/2014/main" id="{7C75559C-533A-4120-BE20-CE83A12713E1}"/>
              </a:ext>
            </a:extLst>
          </p:cNvPr>
          <p:cNvSpPr/>
          <p:nvPr/>
        </p:nvSpPr>
        <p:spPr>
          <a:xfrm>
            <a:off x="10334280" y="4902666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Rectangle 6">
            <a:extLst>
              <a:ext uri="{FF2B5EF4-FFF2-40B4-BE49-F238E27FC236}">
                <a16:creationId xmlns:a16="http://schemas.microsoft.com/office/drawing/2014/main" id="{5D58D755-B551-4B33-9A48-4A04632F8A85}"/>
              </a:ext>
            </a:extLst>
          </p:cNvPr>
          <p:cNvSpPr/>
          <p:nvPr/>
        </p:nvSpPr>
        <p:spPr>
          <a:xfrm>
            <a:off x="10334280" y="5211392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Rectangle 7">
            <a:extLst>
              <a:ext uri="{FF2B5EF4-FFF2-40B4-BE49-F238E27FC236}">
                <a16:creationId xmlns:a16="http://schemas.microsoft.com/office/drawing/2014/main" id="{4D84D416-0847-40D1-BA59-3F9D3CBB2BC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334280" y="5520118"/>
            <a:ext cx="180000" cy="18000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Rectangle 8">
            <a:extLst>
              <a:ext uri="{FF2B5EF4-FFF2-40B4-BE49-F238E27FC236}">
                <a16:creationId xmlns:a16="http://schemas.microsoft.com/office/drawing/2014/main" id="{A190E135-ABAA-483B-A549-1FEAC7D7119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334280" y="5828844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TextBox 9">
            <a:extLst>
              <a:ext uri="{FF2B5EF4-FFF2-40B4-BE49-F238E27FC236}">
                <a16:creationId xmlns:a16="http://schemas.microsoft.com/office/drawing/2014/main" id="{6B264FEA-46C1-4B74-AB2C-0F32A8FF0B6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574036" y="4499274"/>
            <a:ext cx="755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</a:p>
        </p:txBody>
      </p:sp>
      <p:sp>
        <p:nvSpPr>
          <p:cNvPr id="65" name="TextBox 10">
            <a:extLst>
              <a:ext uri="{FF2B5EF4-FFF2-40B4-BE49-F238E27FC236}">
                <a16:creationId xmlns:a16="http://schemas.microsoft.com/office/drawing/2014/main" id="{E00808A1-7533-44BF-8F46-27AAAB5A760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574036" y="4810564"/>
            <a:ext cx="8691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2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TextBox 11">
            <a:extLst>
              <a:ext uri="{FF2B5EF4-FFF2-40B4-BE49-F238E27FC236}">
                <a16:creationId xmlns:a16="http://schemas.microsoft.com/office/drawing/2014/main" id="{F453C6C9-3A45-41DD-9B5E-DDA10950AF9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574036" y="5121854"/>
            <a:ext cx="8691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3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TextBox 13">
            <a:extLst>
              <a:ext uri="{FF2B5EF4-FFF2-40B4-BE49-F238E27FC236}">
                <a16:creationId xmlns:a16="http://schemas.microsoft.com/office/drawing/2014/main" id="{610EB814-4F59-494C-81A0-36FEBB0394A8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574036" y="5433144"/>
            <a:ext cx="8691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3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4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TextBox 14">
            <a:extLst>
              <a:ext uri="{FF2B5EF4-FFF2-40B4-BE49-F238E27FC236}">
                <a16:creationId xmlns:a16="http://schemas.microsoft.com/office/drawing/2014/main" id="{4C28BD2C-19B9-4667-B2E3-9E92F4B58A9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574036" y="5744434"/>
            <a:ext cx="8691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4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Rectangle 15">
            <a:extLst>
              <a:ext uri="{FF2B5EF4-FFF2-40B4-BE49-F238E27FC236}">
                <a16:creationId xmlns:a16="http://schemas.microsoft.com/office/drawing/2014/main" id="{EF516B45-D0FD-436E-8D17-975E1BD672D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0334280" y="6137569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Rectangle 16">
            <a:extLst>
              <a:ext uri="{FF2B5EF4-FFF2-40B4-BE49-F238E27FC236}">
                <a16:creationId xmlns:a16="http://schemas.microsoft.com/office/drawing/2014/main" id="{5CB4E964-3056-4131-9257-5D76D6C7690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0334280" y="6446293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TextBox 18">
            <a:extLst>
              <a:ext uri="{FF2B5EF4-FFF2-40B4-BE49-F238E27FC236}">
                <a16:creationId xmlns:a16="http://schemas.microsoft.com/office/drawing/2014/main" id="{8477E167-881C-46D4-9B69-5F5EAABBA7A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574036" y="6055724"/>
            <a:ext cx="8691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5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6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TextBox 19">
            <a:extLst>
              <a:ext uri="{FF2B5EF4-FFF2-40B4-BE49-F238E27FC236}">
                <a16:creationId xmlns:a16="http://schemas.microsoft.com/office/drawing/2014/main" id="{44FED053-9ECF-430C-BC74-73B378BD2D3B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0574036" y="6367016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6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TextBox 29">
            <a:extLst>
              <a:ext uri="{FF2B5EF4-FFF2-40B4-BE49-F238E27FC236}">
                <a16:creationId xmlns:a16="http://schemas.microsoft.com/office/drawing/2014/main" id="{52DD1C8A-23A6-45F6-B318-BCB8C5DC5A80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78399" y="770022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000000"/>
                </a:solidFill>
                <a:latin typeface="Arial" panose="020B0604020202020204"/>
              </a:rPr>
              <a:t>28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02. 2022</a:t>
            </a:r>
          </a:p>
        </p:txBody>
      </p:sp>
      <p:sp>
        <p:nvSpPr>
          <p:cNvPr id="74" name="TextBox 29">
            <a:extLst>
              <a:ext uri="{FF2B5EF4-FFF2-40B4-BE49-F238E27FC236}">
                <a16:creationId xmlns:a16="http://schemas.microsoft.com/office/drawing/2014/main" id="{3A341F76-0AB7-49F1-B629-36D43FC4EF36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3835531" y="805966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7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0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2</a:t>
            </a:r>
          </a:p>
        </p:txBody>
      </p:sp>
      <p:sp>
        <p:nvSpPr>
          <p:cNvPr id="75" name="TextBox 29">
            <a:extLst>
              <a:ext uri="{FF2B5EF4-FFF2-40B4-BE49-F238E27FC236}">
                <a16:creationId xmlns:a16="http://schemas.microsoft.com/office/drawing/2014/main" id="{2D1F6509-9169-4B5A-8265-A6A111D0B9F4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8092744" y="781135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03. 2022</a:t>
            </a:r>
          </a:p>
        </p:txBody>
      </p:sp>
      <p:sp>
        <p:nvSpPr>
          <p:cNvPr id="76" name="TextBox 29">
            <a:extLst>
              <a:ext uri="{FF2B5EF4-FFF2-40B4-BE49-F238E27FC236}">
                <a16:creationId xmlns:a16="http://schemas.microsoft.com/office/drawing/2014/main" id="{FC3400CD-E4EC-4B02-9C65-FEACF53FCCC3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947701" y="3827681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03. 2022</a:t>
            </a:r>
          </a:p>
        </p:txBody>
      </p:sp>
      <p:sp>
        <p:nvSpPr>
          <p:cNvPr id="77" name="TextBox 29">
            <a:extLst>
              <a:ext uri="{FF2B5EF4-FFF2-40B4-BE49-F238E27FC236}">
                <a16:creationId xmlns:a16="http://schemas.microsoft.com/office/drawing/2014/main" id="{0EB56CEA-0635-43E0-B215-5082650AB974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137234" y="3924744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00"/>
                </a:solidFill>
                <a:latin typeface="Arial" panose="020B0604020202020204"/>
              </a:rPr>
              <a:t>0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04. 2022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E3E2297-C1E3-447C-80B4-30298CAC71E1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0" y="1206076"/>
            <a:ext cx="4116985" cy="2594265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F7EF3445-EA35-49CB-81BD-07684D887A0C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7"/>
          <a:stretch>
            <a:fillRect/>
          </a:stretch>
        </p:blipFill>
        <p:spPr>
          <a:xfrm>
            <a:off x="4136711" y="1379123"/>
            <a:ext cx="4001045" cy="2488384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C4791039-C7BD-499D-8A71-A8088C959D24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8154530" y="1189308"/>
            <a:ext cx="4001045" cy="2503917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B1ED63F7-568F-4DBF-B8D9-08A698798E54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533842" y="4324854"/>
            <a:ext cx="4108999" cy="253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7934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4C5A20A0-A260-40EF-BD1E-C982250FE1F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4040597"/>
              </p:ext>
            </p:extLst>
          </p:nvPr>
        </p:nvGraphicFramePr>
        <p:xfrm>
          <a:off x="102909" y="2887526"/>
          <a:ext cx="5207872" cy="3252576"/>
        </p:xfrm>
        <a:graphic>
          <a:graphicData uri="http://schemas.openxmlformats.org/drawingml/2006/table">
            <a:tbl>
              <a:tblPr/>
              <a:tblGrid>
                <a:gridCol w="5207872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4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8580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4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4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4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908806" y="1838225"/>
            <a:ext cx="756703" cy="36350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7162" y="190241"/>
            <a:ext cx="1203483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</a:t>
            </a:r>
            <a:r>
              <a:rPr lang="cs-CZ" sz="4000" b="1" dirty="0"/>
              <a:t>občanů Ukrajiny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sou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</a:t>
            </a:r>
            <a:r>
              <a:rPr kumimoji="0" lang="cs-CZ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ízké</a:t>
            </a:r>
            <a:endParaRPr kumimoji="0" lang="cs-CZ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26779AC8-5DFA-4636-8E54-5D5708628E6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75048378"/>
              </p:ext>
            </p:extLst>
          </p:nvPr>
        </p:nvGraphicFramePr>
        <p:xfrm>
          <a:off x="4648363" y="2430326"/>
          <a:ext cx="184909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9098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2400" dirty="0"/>
                        <a:t>11.</a:t>
                      </a:r>
                      <a:r>
                        <a:rPr lang="en-US" sz="2400" dirty="0"/>
                        <a:t> </a:t>
                      </a:r>
                      <a:r>
                        <a:rPr lang="cs-CZ" sz="2400" dirty="0"/>
                        <a:t>3. 20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  <p:graphicFrame>
        <p:nvGraphicFramePr>
          <p:cNvPr id="6" name="Tabulka 4">
            <a:extLst>
              <a:ext uri="{FF2B5EF4-FFF2-40B4-BE49-F238E27FC236}">
                <a16:creationId xmlns:a16="http://schemas.microsoft.com/office/drawing/2014/main" id="{9F265A07-F3B7-4EC9-9C3B-9C7C848E952B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60251940"/>
              </p:ext>
            </p:extLst>
          </p:nvPr>
        </p:nvGraphicFramePr>
        <p:xfrm>
          <a:off x="6521898" y="2430326"/>
          <a:ext cx="184909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9098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</a:t>
                      </a:r>
                      <a:r>
                        <a:rPr lang="cs-CZ" sz="2400" dirty="0"/>
                        <a:t>8.</a:t>
                      </a:r>
                      <a:r>
                        <a:rPr lang="en-US" sz="2400" dirty="0"/>
                        <a:t> </a:t>
                      </a:r>
                      <a:r>
                        <a:rPr lang="cs-CZ" sz="2400" dirty="0"/>
                        <a:t>3. 20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9D44DD00-0581-479C-9536-981A5007E0C7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94942888"/>
              </p:ext>
            </p:extLst>
          </p:nvPr>
        </p:nvGraphicFramePr>
        <p:xfrm>
          <a:off x="6441708" y="2844049"/>
          <a:ext cx="1583978" cy="3192768"/>
        </p:xfrm>
        <a:graphic>
          <a:graphicData uri="http://schemas.openxmlformats.org/drawingml/2006/table">
            <a:tbl>
              <a:tblPr/>
              <a:tblGrid>
                <a:gridCol w="1583978">
                  <a:extLst>
                    <a:ext uri="{9D8B030D-6E8A-4147-A177-3AD203B41FA5}">
                      <a16:colId xmlns:a16="http://schemas.microsoft.com/office/drawing/2014/main" val="2108772444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8518118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7055746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6698756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630479"/>
                  </a:ext>
                </a:extLst>
              </a:tr>
            </a:tbl>
          </a:graphicData>
        </a:graphic>
      </p:graphicFrame>
      <p:graphicFrame>
        <p:nvGraphicFramePr>
          <p:cNvPr id="8" name="Tabulka 4">
            <a:extLst>
              <a:ext uri="{FF2B5EF4-FFF2-40B4-BE49-F238E27FC236}">
                <a16:creationId xmlns:a16="http://schemas.microsoft.com/office/drawing/2014/main" id="{195C58C5-FC90-4B9B-A1D5-57069D7E8A8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26465185"/>
              </p:ext>
            </p:extLst>
          </p:nvPr>
        </p:nvGraphicFramePr>
        <p:xfrm>
          <a:off x="8394624" y="2430326"/>
          <a:ext cx="184909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9098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2</a:t>
                      </a:r>
                      <a:r>
                        <a:rPr lang="cs-CZ" sz="2400" dirty="0"/>
                        <a:t>5.</a:t>
                      </a:r>
                      <a:r>
                        <a:rPr lang="en-US" sz="2400" dirty="0"/>
                        <a:t> </a:t>
                      </a:r>
                      <a:r>
                        <a:rPr lang="cs-CZ" sz="2400" dirty="0"/>
                        <a:t>3. 20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1A2A1727-7F9F-4C4E-AC7D-1C7CEC92D536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8518360"/>
              </p:ext>
            </p:extLst>
          </p:nvPr>
        </p:nvGraphicFramePr>
        <p:xfrm>
          <a:off x="8314434" y="2844049"/>
          <a:ext cx="1583978" cy="3192768"/>
        </p:xfrm>
        <a:graphic>
          <a:graphicData uri="http://schemas.openxmlformats.org/drawingml/2006/table">
            <a:tbl>
              <a:tblPr/>
              <a:tblGrid>
                <a:gridCol w="1583978">
                  <a:extLst>
                    <a:ext uri="{9D8B030D-6E8A-4147-A177-3AD203B41FA5}">
                      <a16:colId xmlns:a16="http://schemas.microsoft.com/office/drawing/2014/main" val="2108772444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8518118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7055746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6698756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630479"/>
                  </a:ext>
                </a:extLst>
              </a:tr>
            </a:tbl>
          </a:graphicData>
        </a:graphic>
      </p:graphicFrame>
      <p:graphicFrame>
        <p:nvGraphicFramePr>
          <p:cNvPr id="10" name="Tabulka 4">
            <a:extLst>
              <a:ext uri="{FF2B5EF4-FFF2-40B4-BE49-F238E27FC236}">
                <a16:creationId xmlns:a16="http://schemas.microsoft.com/office/drawing/2014/main" id="{274126D5-7271-476F-BAF9-533D1985D30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47152999"/>
              </p:ext>
            </p:extLst>
          </p:nvPr>
        </p:nvGraphicFramePr>
        <p:xfrm>
          <a:off x="10277173" y="2430326"/>
          <a:ext cx="184909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9098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2400" dirty="0"/>
                        <a:t>1.</a:t>
                      </a:r>
                      <a:r>
                        <a:rPr lang="en-US" sz="2400" dirty="0"/>
                        <a:t> </a:t>
                      </a:r>
                      <a:r>
                        <a:rPr lang="cs-CZ" sz="2400" dirty="0"/>
                        <a:t>4. 20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DB51C015-91D2-44CF-9B7A-1903DBCBCC32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08781175"/>
              </p:ext>
            </p:extLst>
          </p:nvPr>
        </p:nvGraphicFramePr>
        <p:xfrm>
          <a:off x="10196983" y="2844049"/>
          <a:ext cx="1583978" cy="3192768"/>
        </p:xfrm>
        <a:graphic>
          <a:graphicData uri="http://schemas.openxmlformats.org/drawingml/2006/table">
            <a:tbl>
              <a:tblPr/>
              <a:tblGrid>
                <a:gridCol w="1583978">
                  <a:extLst>
                    <a:ext uri="{9D8B030D-6E8A-4147-A177-3AD203B41FA5}">
                      <a16:colId xmlns:a16="http://schemas.microsoft.com/office/drawing/2014/main" val="2108772444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8518118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7055746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6698756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630479"/>
                  </a:ext>
                </a:extLst>
              </a:tr>
            </a:tbl>
          </a:graphicData>
        </a:graphic>
      </p:graphicFrame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F3109664-8F10-4D22-A18F-7BAB2AAE4E0D}"/>
              </a:ext>
            </a:extLst>
          </p:cNvPr>
          <p:cNvGraphicFramePr>
            <a:graphicFrameLocks noGrp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34557091"/>
              </p:ext>
            </p:extLst>
          </p:nvPr>
        </p:nvGraphicFramePr>
        <p:xfrm>
          <a:off x="4540727" y="2887526"/>
          <a:ext cx="1583978" cy="3192768"/>
        </p:xfrm>
        <a:graphic>
          <a:graphicData uri="http://schemas.openxmlformats.org/drawingml/2006/table">
            <a:tbl>
              <a:tblPr/>
              <a:tblGrid>
                <a:gridCol w="1583978">
                  <a:extLst>
                    <a:ext uri="{9D8B030D-6E8A-4147-A177-3AD203B41FA5}">
                      <a16:colId xmlns:a16="http://schemas.microsoft.com/office/drawing/2014/main" val="2108772444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8518118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7055746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6698756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630479"/>
                  </a:ext>
                </a:extLst>
              </a:tr>
            </a:tbl>
          </a:graphicData>
        </a:graphic>
      </p:graphicFrame>
      <p:sp>
        <p:nvSpPr>
          <p:cNvPr id="15" name="Šipka dolů 1">
            <a:extLst>
              <a:ext uri="{FF2B5EF4-FFF2-40B4-BE49-F238E27FC236}">
                <a16:creationId xmlns:a16="http://schemas.microsoft.com/office/drawing/2014/main" id="{9439222D-DC59-45CF-87A2-46D0557CCBA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973276" y="1838223"/>
            <a:ext cx="756703" cy="36350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Šipka dolů 1">
            <a:extLst>
              <a:ext uri="{FF2B5EF4-FFF2-40B4-BE49-F238E27FC236}">
                <a16:creationId xmlns:a16="http://schemas.microsoft.com/office/drawing/2014/main" id="{45BF1CD5-0C4F-4E71-8685-A88D97A7D149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822500" y="1838224"/>
            <a:ext cx="756703" cy="36350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Šipka dolů 1">
            <a:extLst>
              <a:ext uri="{FF2B5EF4-FFF2-40B4-BE49-F238E27FC236}">
                <a16:creationId xmlns:a16="http://schemas.microsoft.com/office/drawing/2014/main" id="{9B964331-01A5-47E3-B6C0-DF4B47691AD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0823370" y="1838223"/>
            <a:ext cx="756703" cy="36350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84206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4">
            <a:extLst>
              <a:ext uri="{FF2B5EF4-FFF2-40B4-BE49-F238E27FC236}">
                <a16:creationId xmlns:a16="http://schemas.microsoft.com/office/drawing/2014/main" id="{4017EDDB-B32A-4BE0-898A-6E922001600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7018022"/>
              </p:ext>
            </p:extLst>
          </p:nvPr>
        </p:nvGraphicFramePr>
        <p:xfrm>
          <a:off x="17962" y="2756738"/>
          <a:ext cx="12439653" cy="4539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Po</a:t>
            </a:r>
            <a:r>
              <a:rPr lang="cs-CZ" sz="2400" dirty="0" err="1"/>
              <a:t>čty</a:t>
            </a:r>
            <a:r>
              <a:rPr lang="cs-CZ" sz="2400" dirty="0"/>
              <a:t> realizovaných PCR testů u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bčanů Ukrajiny </a:t>
            </a:r>
            <a:r>
              <a:rPr lang="cs-CZ" sz="2400" dirty="0"/>
              <a:t>v čase </a:t>
            </a:r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0BBE6A33-48F0-49E1-9234-59BBC97607D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03450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00184" y="2489632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FEEB2FF7-BE27-405C-9A19-734E8CFD46B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196415" y="2515433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139548" y="2491254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>
            <p:custDataLst>
              <p:tags r:id="rId8"/>
            </p:custDataLst>
          </p:nvPr>
        </p:nvSpPr>
        <p:spPr>
          <a:xfrm>
            <a:off x="206835" y="627935"/>
            <a:ext cx="1177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CR testů je stabilní, denní průměr se pohybuje okolo 290.</a:t>
            </a:r>
          </a:p>
        </p:txBody>
      </p:sp>
      <p:graphicFrame>
        <p:nvGraphicFramePr>
          <p:cNvPr id="16" name="Tabulka 8">
            <a:extLst>
              <a:ext uri="{FF2B5EF4-FFF2-40B4-BE49-F238E27FC236}">
                <a16:creationId xmlns:a16="http://schemas.microsoft.com/office/drawing/2014/main" id="{F0F9C019-F3F8-4327-9BE1-DF88A29A8EE7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53483851"/>
              </p:ext>
            </p:extLst>
          </p:nvPr>
        </p:nvGraphicFramePr>
        <p:xfrm>
          <a:off x="182485" y="1049201"/>
          <a:ext cx="11797686" cy="1483320"/>
        </p:xfrm>
        <a:graphic>
          <a:graphicData uri="http://schemas.openxmlformats.org/drawingml/2006/table">
            <a:tbl>
              <a:tblPr firstRow="1" bandRow="1"/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3.–25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3.–1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 testů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 testů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 testů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5 testů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 testů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 testů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.5 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.7 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0.3 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11" name="Zahnutá šipka nahoru 25">
            <a:extLst>
              <a:ext uri="{FF2B5EF4-FFF2-40B4-BE49-F238E27FC236}">
                <a16:creationId xmlns:a16="http://schemas.microsoft.com/office/drawing/2014/main" id="{4DA51123-8A80-4C92-A1EE-B24AEFDBC90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162231" y="2488331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986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8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445</TotalTime>
  <Words>810</Words>
  <Application>Microsoft Office PowerPoint</Application>
  <PresentationFormat>Širokoúhlá obrazovka</PresentationFormat>
  <Paragraphs>212</Paragraphs>
  <Slides>14</Slides>
  <Notes>7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7</vt:i4>
      </vt:variant>
      <vt:variant>
        <vt:lpstr>Nadpisy snímků</vt:lpstr>
      </vt:variant>
      <vt:variant>
        <vt:i4>14</vt:i4>
      </vt:variant>
    </vt:vector>
  </HeadingPairs>
  <TitlesOfParts>
    <vt:vector size="25" baseType="lpstr">
      <vt:lpstr>Calibri</vt:lpstr>
      <vt:lpstr>Arial (Základní text)</vt:lpstr>
      <vt:lpstr>Arial</vt:lpstr>
      <vt:lpstr>Calibri Light</vt:lpstr>
      <vt:lpstr>1_Motiv Office</vt:lpstr>
      <vt:lpstr>3_Motiv Office</vt:lpstr>
      <vt:lpstr>7_Motiv Office</vt:lpstr>
      <vt:lpstr>12_Motiv Office</vt:lpstr>
      <vt:lpstr>2_Motiv Office</vt:lpstr>
      <vt:lpstr>Motiv Office</vt:lpstr>
      <vt:lpstr>6_Motiv Office</vt:lpstr>
      <vt:lpstr>Datová a informační základna  pro management pandemie COVID-19</vt:lpstr>
      <vt:lpstr>Prezentace aplikace PowerPoint</vt:lpstr>
      <vt:lpstr>Počty COVID-19 pozitivních občanů Ukrajiny v ČR </vt:lpstr>
      <vt:lpstr>Počty COVID-19 pozitivních dětí z Ukrajiny v ČR </vt:lpstr>
      <vt:lpstr>Reinfekce u občanů Ukrajiny od 1.1.2021 – 7 denní průměr</vt:lpstr>
      <vt:lpstr>7 denní součet nových případů občanů Ukrajiny v okresech ČR</vt:lpstr>
      <vt:lpstr>7 denní součet nových případů občanů Ukrajiny v ORP ČR</vt:lpstr>
      <vt:lpstr>Prezentace aplikace PowerPoint</vt:lpstr>
      <vt:lpstr>Počty realizovaných PCR testů u občanů Ukrajiny v čase </vt:lpstr>
      <vt:lpstr>Počty realizovaných AG testů u občanů Ukrajiny v čase</vt:lpstr>
      <vt:lpstr>Podíl pozitivních testů u občanů Ukrajiny: diagnostické indikace </vt:lpstr>
      <vt:lpstr>Podíl pozitivních testů u občanů Ukrajiny : epidemiologické indikace</vt:lpstr>
      <vt:lpstr>Absolutní počty záchytů u občanů Ukrajiny </vt:lpstr>
      <vt:lpstr>Relativní pozitivita PCR testů u občanů Ukrajiny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3297</cp:revision>
  <dcterms:created xsi:type="dcterms:W3CDTF">2020-11-11T17:36:28Z</dcterms:created>
  <dcterms:modified xsi:type="dcterms:W3CDTF">2022-04-03T16:22:27Z</dcterms:modified>
</cp:coreProperties>
</file>